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theme/theme3.xml" ContentType="application/vnd.openxmlformats-officedocument.theme+xml"/>
  <Override PartName="/ppt/tags/tag28.xml" ContentType="application/vnd.openxmlformats-officedocument.presentationml.tags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4.xml" ContentType="application/vnd.openxmlformats-officedocument.theme+xml"/>
  <Override PartName="/ppt/tags/tag29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theme/theme5.xml" ContentType="application/vnd.openxmlformats-officedocument.theme+xml"/>
  <Override PartName="/ppt/tags/tag30.xml" ContentType="application/vnd.openxmlformats-officedocument.presentationml.tags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heme/theme6.xml" ContentType="application/vnd.openxmlformats-officedocument.theme+xml"/>
  <Override PartName="/ppt/tags/tag31.xml" ContentType="application/vnd.openxmlformats-officedocument.presentationml.tags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theme/theme7.xml" ContentType="application/vnd.openxmlformats-officedocument.theme+xml"/>
  <Override PartName="/ppt/theme/theme8.xml" ContentType="application/vnd.openxmlformats-officedocument.theme+xml"/>
  <Override PartName="/ppt/theme/theme9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03" r:id="rId4"/>
    <p:sldMasterId id="2147484092" r:id="rId5"/>
    <p:sldMasterId id="2147484126" r:id="rId6"/>
    <p:sldMasterId id="2147484159" r:id="rId7"/>
    <p:sldMasterId id="2147484192" r:id="rId8"/>
    <p:sldMasterId id="2147484225" r:id="rId9"/>
    <p:sldMasterId id="2147484259" r:id="rId10"/>
  </p:sldMasterIdLst>
  <p:notesMasterIdLst>
    <p:notesMasterId r:id="rId13"/>
  </p:notesMasterIdLst>
  <p:handoutMasterIdLst>
    <p:handoutMasterId r:id="rId14"/>
  </p:handoutMasterIdLst>
  <p:sldIdLst>
    <p:sldId id="6271" r:id="rId11"/>
    <p:sldId id="6272" r:id="rId12"/>
  </p:sldIdLst>
  <p:sldSz cx="12188825" cy="6858000"/>
  <p:notesSz cx="9928225" cy="6797675"/>
  <p:custDataLst>
    <p:tags r:id="rId1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33" userDrawn="1">
          <p15:clr>
            <a:srgbClr val="A4A3A4"/>
          </p15:clr>
        </p15:guide>
        <p15:guide id="2" pos="383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5360" userDrawn="1">
          <p15:clr>
            <a:srgbClr val="A4A3A4"/>
          </p15:clr>
        </p15:guide>
        <p15:guide id="2" orient="horz" pos="2203" userDrawn="1">
          <p15:clr>
            <a:srgbClr val="A4A3A4"/>
          </p15:clr>
        </p15:guide>
        <p15:guide id="3" pos="470" userDrawn="1">
          <p15:clr>
            <a:srgbClr val="A4A3A4"/>
          </p15:clr>
        </p15:guide>
        <p15:guide id="4" pos="4161" userDrawn="1">
          <p15:clr>
            <a:srgbClr val="A4A3A4"/>
          </p15:clr>
        </p15:guide>
        <p15:guide id="5" orient="horz" pos="5449" userDrawn="1">
          <p15:clr>
            <a:srgbClr val="A4A3A4"/>
          </p15:clr>
        </p15:guide>
        <p15:guide id="6" orient="horz" pos="2240" userDrawn="1">
          <p15:clr>
            <a:srgbClr val="A4A3A4"/>
          </p15:clr>
        </p15:guide>
        <p15:guide id="7" pos="481" userDrawn="1">
          <p15:clr>
            <a:srgbClr val="A4A3A4"/>
          </p15:clr>
        </p15:guide>
        <p15:guide id="8" pos="4254" userDrawn="1">
          <p15:clr>
            <a:srgbClr val="A4A3A4"/>
          </p15:clr>
        </p15:guide>
        <p15:guide id="9" orient="horz" pos="4042" userDrawn="1">
          <p15:clr>
            <a:srgbClr val="A4A3A4"/>
          </p15:clr>
        </p15:guide>
        <p15:guide id="10" orient="horz" pos="1661" userDrawn="1">
          <p15:clr>
            <a:srgbClr val="A4A3A4"/>
          </p15:clr>
        </p15:guide>
        <p15:guide id="11" orient="horz" pos="4109" userDrawn="1">
          <p15:clr>
            <a:srgbClr val="A4A3A4"/>
          </p15:clr>
        </p15:guide>
        <p15:guide id="12" orient="horz" pos="1689" userDrawn="1">
          <p15:clr>
            <a:srgbClr val="A4A3A4"/>
          </p15:clr>
        </p15:guide>
        <p15:guide id="13" pos="623" userDrawn="1">
          <p15:clr>
            <a:srgbClr val="A4A3A4"/>
          </p15:clr>
        </p15:guide>
        <p15:guide id="14" pos="5517" userDrawn="1">
          <p15:clr>
            <a:srgbClr val="A4A3A4"/>
          </p15:clr>
        </p15:guide>
        <p15:guide id="15" pos="638" userDrawn="1">
          <p15:clr>
            <a:srgbClr val="A4A3A4"/>
          </p15:clr>
        </p15:guide>
        <p15:guide id="16" pos="56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rla Tully" initials="" lastIdx="1" clrIdx="0"/>
  <p:cmAuthor id="1" name="Daniel Stadelmann" initials="DS" lastIdx="41" clrIdx="1"/>
  <p:cmAuthor id="2" name="Natalia Bengoechea" initials="NB" lastIdx="2" clrIdx="2"/>
  <p:cmAuthor id="3" name="Casas Bernabe" initials="CB" lastIdx="3" clrIdx="3">
    <p:extLst>
      <p:ext uri="{19B8F6BF-5375-455C-9EA6-DF929625EA0E}">
        <p15:presenceInfo xmlns:p15="http://schemas.microsoft.com/office/powerpoint/2012/main" userId="Casas Bernabe" providerId="None"/>
      </p:ext>
    </p:extLst>
  </p:cmAuthor>
  <p:cmAuthor id="4" name="RICARDO M. FALU" initials="RMF" lastIdx="1" clrIdx="4">
    <p:extLst>
      <p:ext uri="{19B8F6BF-5375-455C-9EA6-DF929625EA0E}">
        <p15:presenceInfo xmlns:p15="http://schemas.microsoft.com/office/powerpoint/2012/main" userId="S-1-5-21-904028334-1492082812-317593308-64291" providerId="AD"/>
      </p:ext>
    </p:extLst>
  </p:cmAuthor>
  <p:cmAuthor id="5" name="Hp AK-002" initials="HA" lastIdx="2" clrIdx="5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14ADE"/>
    <a:srgbClr val="00A2C7"/>
    <a:srgbClr val="16A837"/>
    <a:srgbClr val="2DC739"/>
    <a:srgbClr val="8C5CF2"/>
    <a:srgbClr val="00415F"/>
    <a:srgbClr val="C0A63A"/>
    <a:srgbClr val="E2D5A0"/>
    <a:srgbClr val="0000FF"/>
    <a:srgbClr val="00B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E3FDE45-AF77-4B5C-9715-49D594BDF05E}" styleName="Light Style 1 - Accent 2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D03447BB-5D67-496B-8E87-E561075AD55C}" styleName="Dark Style 1 - Accent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C083E6E3-FA7D-4D7B-A595-EF9225AFEA82}" styleName="Estilo claro 1 - Acento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1FECB4D8-DB02-4DC6-A0A2-4F2EBAE1DC90}" styleName="Estilo medio 1 - Énfasis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9DCAF9ED-07DC-4A11-8D7F-57B35C25682E}" styleName="Estilo medio 1 - Énfasis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995" autoAdjust="0"/>
    <p:restoredTop sz="94878" autoAdjust="0"/>
  </p:normalViewPr>
  <p:slideViewPr>
    <p:cSldViewPr snapToGrid="0">
      <p:cViewPr varScale="1">
        <p:scale>
          <a:sx n="62" d="100"/>
          <a:sy n="62" d="100"/>
        </p:scale>
        <p:origin x="832" y="56"/>
      </p:cViewPr>
      <p:guideLst>
        <p:guide orient="horz" pos="1933"/>
        <p:guide pos="383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8" d="100"/>
        <a:sy n="78" d="100"/>
      </p:scale>
      <p:origin x="0" y="6486"/>
    </p:cViewPr>
  </p:sorterViewPr>
  <p:notesViewPr>
    <p:cSldViewPr snapToGrid="0">
      <p:cViewPr varScale="1">
        <p:scale>
          <a:sx n="67" d="100"/>
          <a:sy n="67" d="100"/>
        </p:scale>
        <p:origin x="1636" y="44"/>
      </p:cViewPr>
      <p:guideLst>
        <p:guide orient="horz" pos="5360"/>
        <p:guide orient="horz" pos="2203"/>
        <p:guide pos="470"/>
        <p:guide pos="4161"/>
        <p:guide orient="horz" pos="5449"/>
        <p:guide orient="horz" pos="2240"/>
        <p:guide pos="481"/>
        <p:guide pos="4254"/>
        <p:guide orient="horz" pos="4042"/>
        <p:guide orient="horz" pos="1661"/>
        <p:guide orient="horz" pos="4109"/>
        <p:guide orient="horz" pos="1689"/>
        <p:guide pos="623"/>
        <p:guide pos="5517"/>
        <p:guide pos="638"/>
        <p:guide pos="56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Master" Target="slideMasters/slideMaster7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handoutMaster" Target="handoutMasters/handoutMaster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302231" cy="33988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5623697" y="0"/>
            <a:ext cx="4302231" cy="339884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090D53B4-B4FE-442B-BCF3-9023F49641CC}" type="datetimeFigureOut">
              <a:rPr lang="en-US" smtClean="0"/>
              <a:pPr/>
              <a:t>7/4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6456612"/>
            <a:ext cx="4302231" cy="33988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623697" y="6456612"/>
            <a:ext cx="4302231" cy="339884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15E3EEC0-60C9-482C-B113-4433E60F7642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62560425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238125"/>
            <a:ext cx="4076700" cy="22939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2" name="Notes Placeholder 1"/>
          <p:cNvSpPr>
            <a:spLocks noGrp="1"/>
          </p:cNvSpPr>
          <p:nvPr>
            <p:ph type="body" sz="quarter" idx="3"/>
          </p:nvPr>
        </p:nvSpPr>
        <p:spPr>
          <a:xfrm>
            <a:off x="884832" y="2597428"/>
            <a:ext cx="8158563" cy="3926452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4217764" y="6553661"/>
            <a:ext cx="1057461" cy="171601"/>
          </a:xfrm>
          <a:prstGeom prst="rect">
            <a:avLst/>
          </a:prstGeom>
          <a:noFill/>
        </p:spPr>
        <p:txBody>
          <a:bodyPr wrap="square" lIns="93177" tIns="0" rIns="93177" bIns="0" rtlCol="0" anchor="b" anchorCtr="0">
            <a:noAutofit/>
          </a:bodyPr>
          <a:lstStyle/>
          <a:p>
            <a:pPr algn="ctr"/>
            <a:fld id="{2141DC91-08C3-47C2-9EBC-DD18B99E98FF}" type="slidenum">
              <a:rPr lang="en-US" sz="90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pPr algn="ctr"/>
              <a:t>‹Nº›</a:t>
            </a:fld>
            <a:endParaRPr lang="en-US" sz="9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4842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171450" indent="-171450" algn="l" defTabSz="914400" rtl="0" eaLnBrk="1" latinLnBrk="0" hangingPunct="1">
      <a:lnSpc>
        <a:spcPct val="90000"/>
      </a:lnSpc>
      <a:spcBef>
        <a:spcPts val="800"/>
      </a:spcBef>
      <a:buClr>
        <a:schemeClr val="accent1"/>
      </a:buClr>
      <a:buSzPct val="90000"/>
      <a:buFont typeface="Wingdings" pitchFamily="2" charset="2"/>
      <a:buChar char="l"/>
      <a:defRPr lang="en-US" sz="1200" kern="1200" dirty="0" smtClean="0">
        <a:solidFill>
          <a:schemeClr val="tx1"/>
        </a:solidFill>
        <a:effectLst/>
        <a:latin typeface="+mn-lt"/>
        <a:ea typeface="+mn-ea"/>
        <a:cs typeface="+mn-cs"/>
      </a:defRPr>
    </a:lvl1pPr>
    <a:lvl2pPr marL="342900" indent="-142875" algn="l" defTabSz="914400" rtl="0" eaLnBrk="1" latinLnBrk="0" hangingPunct="1">
      <a:lnSpc>
        <a:spcPct val="90000"/>
      </a:lnSpc>
      <a:spcBef>
        <a:spcPts val="400"/>
      </a:spcBef>
      <a:buClr>
        <a:schemeClr val="accent1"/>
      </a:buClr>
      <a:buSzPct val="90000"/>
      <a:buFont typeface="Wingdings 3" pitchFamily="18" charset="2"/>
      <a:buChar char=""/>
      <a:defRPr lang="en-US" sz="1100" kern="1200" dirty="0" smtClean="0">
        <a:solidFill>
          <a:schemeClr val="tx1"/>
        </a:solidFill>
        <a:effectLst/>
        <a:latin typeface="+mn-lt"/>
        <a:ea typeface="+mn-ea"/>
        <a:cs typeface="+mn-cs"/>
      </a:defRPr>
    </a:lvl2pPr>
    <a:lvl3pPr marL="514350" indent="-119063" algn="l" defTabSz="914400" rtl="0" eaLnBrk="1" latinLnBrk="0" hangingPunct="1">
      <a:lnSpc>
        <a:spcPct val="90000"/>
      </a:lnSpc>
      <a:spcBef>
        <a:spcPts val="200"/>
      </a:spcBef>
      <a:buClr>
        <a:schemeClr val="accent1"/>
      </a:buClr>
      <a:buSzPct val="105000"/>
      <a:buFont typeface="Wingdings" pitchFamily="2" charset="2"/>
      <a:buChar char="w"/>
      <a:defRPr lang="en-US" sz="1000" kern="1200" dirty="0" smtClean="0">
        <a:solidFill>
          <a:schemeClr val="tx1"/>
        </a:solidFill>
        <a:effectLst/>
        <a:latin typeface="+mn-lt"/>
        <a:ea typeface="+mn-ea"/>
        <a:cs typeface="+mn-cs"/>
      </a:defRPr>
    </a:lvl3pPr>
    <a:lvl4pPr marL="685800" indent="-107950" algn="l" defTabSz="914400" rtl="0" eaLnBrk="1" latinLnBrk="0" hangingPunct="1">
      <a:lnSpc>
        <a:spcPct val="90000"/>
      </a:lnSpc>
      <a:spcBef>
        <a:spcPts val="100"/>
      </a:spcBef>
      <a:buClr>
        <a:schemeClr val="accent1"/>
      </a:buClr>
      <a:buSzPct val="100000"/>
      <a:buFont typeface="Arial" pitchFamily="34" charset="0"/>
      <a:buChar char="●"/>
      <a:defRPr lang="en-US" sz="900" kern="1200" dirty="0" smtClean="0">
        <a:solidFill>
          <a:schemeClr val="tx1"/>
        </a:solidFill>
        <a:effectLst/>
        <a:latin typeface="+mn-lt"/>
        <a:ea typeface="+mn-ea"/>
        <a:cs typeface="+mn-cs"/>
      </a:defRPr>
    </a:lvl4pPr>
    <a:lvl5pPr marL="800100" indent="-95250" algn="l" defTabSz="914400" rtl="0" eaLnBrk="1" latinLnBrk="0" hangingPunct="1">
      <a:lnSpc>
        <a:spcPct val="90000"/>
      </a:lnSpc>
      <a:spcBef>
        <a:spcPts val="100"/>
      </a:spcBef>
      <a:buClr>
        <a:schemeClr val="accent1"/>
      </a:buClr>
      <a:buSzPct val="100000"/>
      <a:buFont typeface="Verdana" pitchFamily="34" charset="0"/>
      <a:buChar char="–"/>
      <a:defRPr lang="en-US" sz="800" kern="1200" dirty="0">
        <a:solidFill>
          <a:schemeClr val="tx1"/>
        </a:solidFill>
        <a:effectLst/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36.png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5" Type="http://schemas.openxmlformats.org/officeDocument/2006/relationships/image" Target="../media/image14.jpeg"/><Relationship Id="rId4" Type="http://schemas.openxmlformats.org/officeDocument/2006/relationships/image" Target="../media/image5.emf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36.png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9.emf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5" Type="http://schemas.openxmlformats.org/officeDocument/2006/relationships/image" Target="../media/image3.png"/><Relationship Id="rId4" Type="http://schemas.openxmlformats.org/officeDocument/2006/relationships/image" Target="../media/image15.emf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6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6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6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36.png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39.png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tags" Target="../tags/tag13.xml"/><Relationship Id="rId6" Type="http://schemas.openxmlformats.org/officeDocument/2006/relationships/oleObject" Target="../embeddings/oleObject13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12.bin"/></Relationships>
</file>

<file path=ppt/slideLayouts/_rels/slideLayout2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6.xml"/><Relationship Id="rId4" Type="http://schemas.openxmlformats.org/officeDocument/2006/relationships/image" Target="../media/image2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7.xml"/><Relationship Id="rId4" Type="http://schemas.openxmlformats.org/officeDocument/2006/relationships/image" Target="../media/image2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0.xml"/><Relationship Id="rId6" Type="http://schemas.openxmlformats.org/officeDocument/2006/relationships/image" Target="../media/image6.jpg"/><Relationship Id="rId5" Type="http://schemas.openxmlformats.org/officeDocument/2006/relationships/image" Target="../media/image3.png"/><Relationship Id="rId4" Type="http://schemas.openxmlformats.org/officeDocument/2006/relationships/image" Target="../media/image5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1.xml"/><Relationship Id="rId6" Type="http://schemas.openxmlformats.org/officeDocument/2006/relationships/image" Target="../media/image8.JPG"/><Relationship Id="rId5" Type="http://schemas.openxmlformats.org/officeDocument/2006/relationships/image" Target="../media/image7.jp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2.xml"/><Relationship Id="rId6" Type="http://schemas.openxmlformats.org/officeDocument/2006/relationships/image" Target="../media/image10.jpeg"/><Relationship Id="rId5" Type="http://schemas.openxmlformats.org/officeDocument/2006/relationships/image" Target="../media/image7.jpg"/><Relationship Id="rId4" Type="http://schemas.openxmlformats.org/officeDocument/2006/relationships/image" Target="../media/image9.emf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3.xml"/><Relationship Id="rId5" Type="http://schemas.openxmlformats.org/officeDocument/2006/relationships/image" Target="../media/image14.jpeg"/><Relationship Id="rId4" Type="http://schemas.openxmlformats.org/officeDocument/2006/relationships/image" Target="../media/image5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4.xml"/><Relationship Id="rId4" Type="http://schemas.openxmlformats.org/officeDocument/2006/relationships/image" Target="../media/image9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25.xml"/><Relationship Id="rId5" Type="http://schemas.openxmlformats.org/officeDocument/2006/relationships/image" Target="../media/image3.png"/><Relationship Id="rId4" Type="http://schemas.openxmlformats.org/officeDocument/2006/relationships/image" Target="../media/image15.emf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oleObject" Target="../embeddings/oleObject26.bin"/><Relationship Id="rId5" Type="http://schemas.openxmlformats.org/officeDocument/2006/relationships/image" Target="../media/image2.emf"/><Relationship Id="rId4" Type="http://schemas.openxmlformats.org/officeDocument/2006/relationships/oleObject" Target="../embeddings/oleObject25.bin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6.jpg"/><Relationship Id="rId5" Type="http://schemas.openxmlformats.org/officeDocument/2006/relationships/image" Target="../media/image3.png"/><Relationship Id="rId4" Type="http://schemas.openxmlformats.org/officeDocument/2006/relationships/image" Target="../media/image5.emf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8.JPG"/><Relationship Id="rId5" Type="http://schemas.openxmlformats.org/officeDocument/2006/relationships/image" Target="../media/image7.jpg"/><Relationship Id="rId4" Type="http://schemas.openxmlformats.org/officeDocument/2006/relationships/image" Target="../media/image1.emf"/></Relationships>
</file>

<file path=ppt/slideLayouts/_rels/slideLayout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36.png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10.jpeg"/><Relationship Id="rId5" Type="http://schemas.openxmlformats.org/officeDocument/2006/relationships/image" Target="../media/image7.jpg"/><Relationship Id="rId4" Type="http://schemas.openxmlformats.org/officeDocument/2006/relationships/image" Target="../media/image9.emf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/>
          <p:cNvSpPr/>
          <p:nvPr userDrawn="1"/>
        </p:nvSpPr>
        <p:spPr bwMode="auto">
          <a:xfrm>
            <a:off x="-1" y="0"/>
            <a:ext cx="12188825" cy="6858000"/>
          </a:xfrm>
          <a:prstGeom prst="rect">
            <a:avLst/>
          </a:prstGeom>
          <a:gradFill>
            <a:gsLst>
              <a:gs pos="0">
                <a:srgbClr val="2A3597"/>
              </a:gs>
              <a:gs pos="65000">
                <a:srgbClr val="0D6588"/>
              </a:gs>
            </a:gsLst>
            <a:lin ang="840000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E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837177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44" r="-161"/>
          <a:stretch/>
        </p:blipFill>
        <p:spPr>
          <a:xfrm>
            <a:off x="-61645" y="0"/>
            <a:ext cx="12250470" cy="6858000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 bwMode="auto">
          <a:xfrm>
            <a:off x="-61644" y="0"/>
            <a:ext cx="12250470" cy="6858000"/>
          </a:xfrm>
          <a:prstGeom prst="rect">
            <a:avLst/>
          </a:prstGeom>
          <a:solidFill>
            <a:schemeClr val="tx1">
              <a:alpha val="35000"/>
            </a:schemeClr>
          </a:soli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ES" b="1" dirty="0">
              <a:solidFill>
                <a:schemeClr val="bg1"/>
              </a:solidFill>
            </a:endParaRPr>
          </a:p>
        </p:txBody>
      </p:sp>
      <p:sp>
        <p:nvSpPr>
          <p:cNvPr id="5" name="Rectángulo 4"/>
          <p:cNvSpPr/>
          <p:nvPr/>
        </p:nvSpPr>
        <p:spPr bwMode="auto">
          <a:xfrm>
            <a:off x="-61646" y="0"/>
            <a:ext cx="9746559" cy="6858000"/>
          </a:xfrm>
          <a:prstGeom prst="rect">
            <a:avLst/>
          </a:prstGeom>
          <a:gradFill>
            <a:gsLst>
              <a:gs pos="76000">
                <a:schemeClr val="accent2">
                  <a:alpha val="0"/>
                </a:schemeClr>
              </a:gs>
              <a:gs pos="0">
                <a:schemeClr val="accent2">
                  <a:alpha val="50000"/>
                </a:schemeClr>
              </a:gs>
            </a:gsLst>
            <a:lin ang="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E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8802613"/>
      </p:ext>
    </p:extLst>
  </p:cSld>
  <p:clrMapOvr>
    <a:masterClrMapping/>
  </p:clrMapOvr>
  <p:hf hdr="0" ftr="0" dt="0"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93E22AF4-9ECA-6848-B9C1-E3B07771CE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57760" y="931548"/>
            <a:ext cx="3682041" cy="257839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320D3A8-6E16-594B-9E2B-8C22FF2D0D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626384"/>
            <a:ext cx="7157760" cy="32326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341618" y="869073"/>
            <a:ext cx="3686677" cy="196901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7700" marR="3080">
              <a:lnSpc>
                <a:spcPts val="4996"/>
              </a:lnSpc>
              <a:spcBef>
                <a:spcPts val="1061"/>
              </a:spcBef>
              <a:defRPr sz="5002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 marR="5080">
              <a:lnSpc>
                <a:spcPts val="8240"/>
              </a:lnSpc>
              <a:spcBef>
                <a:spcPts val="1750"/>
              </a:spcBef>
            </a:pPr>
            <a:r>
              <a:rPr lang="en-US" sz="5002" spc="-3"/>
              <a:t>Title with </a:t>
            </a:r>
            <a:r>
              <a:rPr lang="en-US" sz="5002" spc="-6">
                <a:solidFill>
                  <a:srgbClr val="1DA84A"/>
                </a:solidFill>
              </a:rPr>
              <a:t>green and </a:t>
            </a:r>
            <a:br>
              <a:rPr lang="en-US" sz="5002" spc="-6">
                <a:solidFill>
                  <a:srgbClr val="1DA84A"/>
                </a:solidFill>
              </a:rPr>
            </a:br>
            <a:r>
              <a:rPr lang="en-US" sz="5002" spc="-3"/>
              <a:t>black text</a:t>
            </a:r>
            <a:endParaRPr lang="en-US" sz="5002">
              <a:latin typeface="Arial"/>
              <a:cs typeface="Arial"/>
            </a:endParaRPr>
          </a:p>
        </p:txBody>
      </p:sp>
      <p:pic>
        <p:nvPicPr>
          <p:cNvPr id="20" name="Picture 19" descr="A picture containing wheel&#10;&#10;Description automatically generated">
            <a:extLst>
              <a:ext uri="{FF2B5EF4-FFF2-40B4-BE49-F238E27FC236}">
                <a16:creationId xmlns:a16="http://schemas.microsoft.com/office/drawing/2014/main" id="{41653854-ECE0-3B41-B714-2E91B5CE645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064" y="5883835"/>
            <a:ext cx="1546741" cy="6034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531BB61-330E-8141-9C04-2EA05B2DA452}"/>
              </a:ext>
            </a:extLst>
          </p:cNvPr>
          <p:cNvSpPr/>
          <p:nvPr/>
        </p:nvSpPr>
        <p:spPr>
          <a:xfrm>
            <a:off x="371439" y="3509941"/>
            <a:ext cx="11451644" cy="116705"/>
          </a:xfrm>
          <a:prstGeom prst="rect">
            <a:avLst/>
          </a:prstGeom>
          <a:gradFill flip="none" rotWithShape="1">
            <a:gsLst>
              <a:gs pos="100000">
                <a:srgbClr val="3250FC"/>
              </a:gs>
              <a:gs pos="70000">
                <a:srgbClr val="9E70FF"/>
              </a:gs>
              <a:gs pos="34000">
                <a:srgbClr val="2ACEEB"/>
              </a:gs>
              <a:gs pos="0">
                <a:srgbClr val="2CBF38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1"/>
          </a:p>
        </p:txBody>
      </p:sp>
      <p:sp>
        <p:nvSpPr>
          <p:cNvPr id="14" name="Holder 6">
            <a:extLst>
              <a:ext uri="{FF2B5EF4-FFF2-40B4-BE49-F238E27FC236}">
                <a16:creationId xmlns:a16="http://schemas.microsoft.com/office/drawing/2014/main" id="{FE7A3AB4-2A5A-BD48-90EC-6D3AFC0757F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650991" y="382600"/>
            <a:ext cx="172092" cy="933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60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5462B46-67AA-6E44-83EF-0BD607BA3A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166" y="4431179"/>
            <a:ext cx="2633341" cy="648124"/>
          </a:xfrm>
        </p:spPr>
        <p:txBody>
          <a:bodyPr tIns="0">
            <a:noAutofit/>
          </a:bodyPr>
          <a:lstStyle>
            <a:lvl1pPr marL="0">
              <a:spcBef>
                <a:spcPts val="0"/>
              </a:spcBef>
              <a:defRPr sz="1940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latin typeface="Arial" charset="0"/>
                <a:ea typeface="Arial" charset="0"/>
                <a:cs typeface="Arial" charset="0"/>
              </a:defRPr>
            </a:lvl2pPr>
            <a:lvl3pPr>
              <a:defRPr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Subhead</a:t>
            </a:r>
          </a:p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3936895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  <p15:guide id="9" pos="6428">
          <p15:clr>
            <a:srgbClr val="FBAE40"/>
          </p15:clr>
        </p15:guide>
        <p15:guide id="10" pos="8444">
          <p15:clr>
            <a:srgbClr val="FBAE40"/>
          </p15:clr>
        </p15:guide>
        <p15:guide id="12" orient="horz" pos="293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C637C7C-BEE7-064C-9851-9802BDCB89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61944" y="3163391"/>
            <a:ext cx="3690961" cy="248358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94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94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94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7161944" y="1685659"/>
            <a:ext cx="3690961" cy="19862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700" marR="3080">
              <a:lnSpc>
                <a:spcPts val="4996"/>
              </a:lnSpc>
              <a:spcBef>
                <a:spcPts val="1061"/>
              </a:spcBef>
              <a:defRPr sz="5002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 marR="5080">
              <a:lnSpc>
                <a:spcPts val="8240"/>
              </a:lnSpc>
              <a:spcBef>
                <a:spcPts val="1750"/>
              </a:spcBef>
            </a:pPr>
            <a:r>
              <a:rPr lang="en-US" sz="5002" spc="-3"/>
              <a:t>Presentation Title</a:t>
            </a:r>
            <a:endParaRPr lang="en-US" sz="5002">
              <a:latin typeface="Arial"/>
              <a:cs typeface="Arial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3EE9359-C4CF-F045-9C60-D5C9638414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71510"/>
            <a:ext cx="6186810" cy="609179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2" name="Picture 21" descr="A picture containing wheel&#10;&#10;Description automatically generated">
            <a:extLst>
              <a:ext uri="{FF2B5EF4-FFF2-40B4-BE49-F238E27FC236}">
                <a16:creationId xmlns:a16="http://schemas.microsoft.com/office/drawing/2014/main" id="{ED0E0FFB-0640-CA4F-9B26-C32580330BF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064" y="5883835"/>
            <a:ext cx="1546741" cy="603408"/>
          </a:xfrm>
          <a:prstGeom prst="rect">
            <a:avLst/>
          </a:prstGeom>
        </p:spPr>
      </p:pic>
      <p:sp>
        <p:nvSpPr>
          <p:cNvPr id="11" name="Holder 6">
            <a:extLst>
              <a:ext uri="{FF2B5EF4-FFF2-40B4-BE49-F238E27FC236}">
                <a16:creationId xmlns:a16="http://schemas.microsoft.com/office/drawing/2014/main" id="{64A510D6-7281-A34D-9D20-1FEC25FDE74C}"/>
              </a:ext>
            </a:extLst>
          </p:cNvPr>
          <p:cNvSpPr txBox="1">
            <a:spLocks/>
          </p:cNvSpPr>
          <p:nvPr/>
        </p:nvSpPr>
        <p:spPr>
          <a:xfrm>
            <a:off x="11650991" y="382601"/>
            <a:ext cx="172092" cy="932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F15528-21DE-4FAA-801E-634DDDAF4B2B}" type="slidenum">
              <a:rPr lang="en-US" sz="606" smtClean="0"/>
              <a:pPr/>
              <a:t>‹Nº›</a:t>
            </a:fld>
            <a:endParaRPr lang="en-US" sz="606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B4C659-EB9F-A840-A6AD-B59A4B50F9C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56989" y="919342"/>
            <a:ext cx="583262" cy="58337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4526539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  <p15:guide id="12" orient="horz" pos="2938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AES Section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wheel&#10;&#10;Description automatically generated">
            <a:extLst>
              <a:ext uri="{FF2B5EF4-FFF2-40B4-BE49-F238E27FC236}">
                <a16:creationId xmlns:a16="http://schemas.microsoft.com/office/drawing/2014/main" id="{6D06CDE7-47E0-244C-8AA6-E3B37A29AB6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71439" y="2062714"/>
            <a:ext cx="11448102" cy="4124655"/>
          </a:xfrm>
        </p:spPr>
        <p:txBody>
          <a:bodyPr tIns="0"/>
          <a:lstStyle>
            <a:lvl1pPr marL="7700" marR="3080">
              <a:lnSpc>
                <a:spcPts val="5226"/>
              </a:lnSpc>
              <a:spcBef>
                <a:spcPts val="628"/>
              </a:spcBef>
              <a:defRPr sz="4729" kern="1200" spc="-6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12700" marR="5080">
              <a:lnSpc>
                <a:spcPts val="8620"/>
              </a:lnSpc>
              <a:spcBef>
                <a:spcPts val="1035"/>
              </a:spcBef>
            </a:pPr>
            <a:r>
              <a:rPr lang="en-US" sz="4729">
                <a:latin typeface="Arial"/>
                <a:cs typeface="Arial"/>
              </a:rPr>
              <a:t>Overview statement</a:t>
            </a: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39" y="421415"/>
            <a:ext cx="10481466" cy="146027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700" marR="3080">
              <a:lnSpc>
                <a:spcPct val="100000"/>
              </a:lnSpc>
              <a:spcBef>
                <a:spcPts val="69"/>
              </a:spcBef>
              <a:defRPr sz="9489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114"/>
              </a:spcBef>
            </a:pPr>
            <a:r>
              <a:rPr lang="en-US" kern="0"/>
              <a:t>Section Title</a:t>
            </a:r>
          </a:p>
        </p:txBody>
      </p:sp>
      <p:sp>
        <p:nvSpPr>
          <p:cNvPr id="23" name="object 7"/>
          <p:cNvSpPr/>
          <p:nvPr/>
        </p:nvSpPr>
        <p:spPr>
          <a:xfrm>
            <a:off x="11456251" y="6390566"/>
            <a:ext cx="36189" cy="0"/>
          </a:xfrm>
          <a:custGeom>
            <a:avLst/>
            <a:gdLst/>
            <a:ahLst/>
            <a:cxnLst/>
            <a:rect l="l" t="t" r="r" b="b"/>
            <a:pathLst>
              <a:path w="59690">
                <a:moveTo>
                  <a:pt x="59537" y="0"/>
                </a:moveTo>
                <a:lnTo>
                  <a:pt x="0" y="0"/>
                </a:lnTo>
                <a:lnTo>
                  <a:pt x="59537" y="0"/>
                </a:lnTo>
                <a:close/>
              </a:path>
            </a:pathLst>
          </a:custGeom>
          <a:solidFill>
            <a:srgbClr val="8471B3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24" name="object 8"/>
          <p:cNvSpPr/>
          <p:nvPr/>
        </p:nvSpPr>
        <p:spPr>
          <a:xfrm>
            <a:off x="11456251" y="6390566"/>
            <a:ext cx="36189" cy="0"/>
          </a:xfrm>
          <a:custGeom>
            <a:avLst/>
            <a:gdLst/>
            <a:ahLst/>
            <a:cxnLst/>
            <a:rect l="l" t="t" r="r" b="b"/>
            <a:pathLst>
              <a:path w="59690">
                <a:moveTo>
                  <a:pt x="59537" y="0"/>
                </a:moveTo>
                <a:lnTo>
                  <a:pt x="0" y="0"/>
                </a:lnTo>
                <a:lnTo>
                  <a:pt x="59537" y="0"/>
                </a:lnTo>
                <a:close/>
              </a:path>
            </a:pathLst>
          </a:custGeom>
          <a:solidFill>
            <a:srgbClr val="8471B3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2758F6-7CDC-ED49-B135-67289B7D24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2" name="Holder 6">
            <a:extLst>
              <a:ext uri="{FF2B5EF4-FFF2-40B4-BE49-F238E27FC236}">
                <a16:creationId xmlns:a16="http://schemas.microsoft.com/office/drawing/2014/main" id="{BA296ADF-0C87-FC4F-855E-11AE685E82F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80694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12" orient="horz" pos="212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AES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39" y="576673"/>
            <a:ext cx="10481466" cy="72776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700" marR="3080">
              <a:lnSpc>
                <a:spcPct val="100000"/>
              </a:lnSpc>
              <a:spcBef>
                <a:spcPts val="69"/>
              </a:spcBef>
              <a:defRPr sz="4729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114"/>
              </a:spcBef>
            </a:pPr>
            <a:r>
              <a:rPr lang="en-US" kern="0" spc="-3"/>
              <a:t>Section</a:t>
            </a:r>
            <a:r>
              <a:rPr lang="en-US" kern="0" spc="-33"/>
              <a:t> </a:t>
            </a:r>
            <a:r>
              <a:rPr lang="en-US" kern="0"/>
              <a:t>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1439" y="1678462"/>
            <a:ext cx="11451644" cy="3886694"/>
          </a:xfrm>
        </p:spPr>
        <p:txBody>
          <a:bodyPr tIns="365760"/>
          <a:lstStyle>
            <a:lvl1pPr marL="5544" marR="0" indent="0" defTabSz="554401" eaLnBrk="1" fontAlgn="auto" latinLnBrk="0" hangingPunct="1">
              <a:lnSpc>
                <a:spcPts val="9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489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 sz="9489">
                <a:latin typeface="Arial" charset="0"/>
                <a:ea typeface="Arial" charset="0"/>
                <a:cs typeface="Arial" charset="0"/>
              </a:defRPr>
            </a:lvl2pPr>
            <a:lvl3pPr>
              <a:defRPr sz="9489">
                <a:latin typeface="Arial" charset="0"/>
                <a:ea typeface="Arial" charset="0"/>
                <a:cs typeface="Arial" charset="0"/>
              </a:defRPr>
            </a:lvl3pPr>
            <a:lvl4pPr>
              <a:defRPr sz="9489">
                <a:latin typeface="Arial" charset="0"/>
                <a:ea typeface="Arial" charset="0"/>
                <a:cs typeface="Arial" charset="0"/>
              </a:defRPr>
            </a:lvl4pPr>
            <a:lvl5pPr>
              <a:defRPr sz="9489">
                <a:latin typeface="Arial" charset="0"/>
                <a:ea typeface="Arial" charset="0"/>
                <a:cs typeface="Arial" charset="0"/>
              </a:defRPr>
            </a:lvl5pPr>
          </a:lstStyle>
          <a:p>
            <a:pPr marL="0" marR="0" lvl="0" indent="0" defTabSz="554401" eaLnBrk="1" fontAlgn="auto" latinLnBrk="0" hangingPunct="1">
              <a:lnSpc>
                <a:spcPts val="9500"/>
              </a:lnSpc>
              <a:spcBef>
                <a:spcPts val="19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489" spc="-24">
                <a:solidFill>
                  <a:srgbClr val="010202"/>
                </a:solidFill>
                <a:latin typeface="Arial"/>
                <a:cs typeface="Arial"/>
              </a:rPr>
              <a:t>Overview statement</a:t>
            </a:r>
            <a:endParaRPr lang="en-US" sz="9489">
              <a:latin typeface="Arial"/>
              <a:cs typeface="Arial"/>
            </a:endParaRPr>
          </a:p>
        </p:txBody>
      </p:sp>
      <p:pic>
        <p:nvPicPr>
          <p:cNvPr id="15" name="Picture 14" descr="A picture containing wheel&#10;&#10;Description automatically generated">
            <a:extLst>
              <a:ext uri="{FF2B5EF4-FFF2-40B4-BE49-F238E27FC236}">
                <a16:creationId xmlns:a16="http://schemas.microsoft.com/office/drawing/2014/main" id="{0FDCDEAA-5702-DA4A-B940-CFB90503E4F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B97702A-63B0-BD47-8A38-B17413BB265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40" y="1502676"/>
            <a:ext cx="11425926" cy="120496"/>
          </a:xfrm>
          <a:prstGeom prst="rect">
            <a:avLst/>
          </a:prstGeom>
        </p:spPr>
      </p:pic>
      <p:sp>
        <p:nvSpPr>
          <p:cNvPr id="9" name="Holder 6">
            <a:extLst>
              <a:ext uri="{FF2B5EF4-FFF2-40B4-BE49-F238E27FC236}">
                <a16:creationId xmlns:a16="http://schemas.microsoft.com/office/drawing/2014/main" id="{CD501E8A-F006-3A41-9AEF-F30A4223718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9E90806-CF1D-1C44-A4E2-C638EF8186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530332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12" orient="horz" pos="173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A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1439" y="425497"/>
            <a:ext cx="10481466" cy="5845280"/>
          </a:xfrm>
        </p:spPr>
        <p:txBody>
          <a:bodyPr tIns="411480">
            <a:normAutofit/>
          </a:bodyPr>
          <a:lstStyle>
            <a:lvl1pPr marL="7700" marR="3080" indent="1113036" defTabSz="554401" eaLnBrk="1" fontAlgn="auto" latinLnBrk="0" hangingPunct="1">
              <a:lnSpc>
                <a:spcPts val="9500"/>
              </a:lnSpc>
              <a:spcBef>
                <a:spcPts val="1958"/>
              </a:spcBef>
              <a:spcAft>
                <a:spcPts val="0"/>
              </a:spcAft>
              <a:buClrTx/>
              <a:buSzTx/>
              <a:buFontTx/>
              <a:buNone/>
              <a:tabLst/>
              <a:defRPr sz="9458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 sz="9489">
                <a:latin typeface="Arial" charset="0"/>
                <a:ea typeface="Arial" charset="0"/>
                <a:cs typeface="Arial" charset="0"/>
              </a:defRPr>
            </a:lvl2pPr>
            <a:lvl3pPr>
              <a:defRPr sz="9489">
                <a:latin typeface="Arial" charset="0"/>
                <a:ea typeface="Arial" charset="0"/>
                <a:cs typeface="Arial" charset="0"/>
              </a:defRPr>
            </a:lvl3pPr>
            <a:lvl4pPr>
              <a:defRPr sz="9489">
                <a:latin typeface="Arial" charset="0"/>
                <a:ea typeface="Arial" charset="0"/>
                <a:cs typeface="Arial" charset="0"/>
              </a:defRPr>
            </a:lvl4pPr>
            <a:lvl5pPr>
              <a:defRPr sz="9489">
                <a:latin typeface="Arial" charset="0"/>
                <a:ea typeface="Arial" charset="0"/>
                <a:cs typeface="Arial" charset="0"/>
              </a:defRPr>
            </a:lvl5pPr>
          </a:lstStyle>
          <a:p>
            <a:pPr marL="12700" marR="5080" indent="1835785">
              <a:lnSpc>
                <a:spcPts val="15669"/>
              </a:lnSpc>
              <a:spcBef>
                <a:spcPts val="3229"/>
              </a:spcBef>
            </a:pPr>
            <a:r>
              <a:rPr lang="en-US" sz="9489">
                <a:solidFill>
                  <a:srgbClr val="010202"/>
                </a:solidFill>
                <a:latin typeface="Arial"/>
                <a:cs typeface="Arial"/>
              </a:rPr>
              <a:t>Statement</a:t>
            </a:r>
            <a:endParaRPr lang="en-US" sz="9489">
              <a:latin typeface="Arial"/>
              <a:cs typeface="Arial"/>
            </a:endParaRPr>
          </a:p>
        </p:txBody>
      </p:sp>
      <p:sp>
        <p:nvSpPr>
          <p:cNvPr id="17" name="object 4"/>
          <p:cNvSpPr/>
          <p:nvPr/>
        </p:nvSpPr>
        <p:spPr>
          <a:xfrm>
            <a:off x="9406662" y="4617207"/>
            <a:ext cx="1277909" cy="642287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1"/>
          </a:p>
        </p:txBody>
      </p:sp>
      <p:pic>
        <p:nvPicPr>
          <p:cNvPr id="14" name="Picture 13" descr="A picture containing wheel&#10;&#10;Description automatically generated">
            <a:extLst>
              <a:ext uri="{FF2B5EF4-FFF2-40B4-BE49-F238E27FC236}">
                <a16:creationId xmlns:a16="http://schemas.microsoft.com/office/drawing/2014/main" id="{4F60CC4A-3204-0A4F-88C9-7347EA77FE1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E9DD4A45-1A06-F546-993C-EF0BD6378E4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42" y="765279"/>
            <a:ext cx="738791" cy="876099"/>
          </a:xfrm>
          <a:prstGeom prst="rect">
            <a:avLst/>
          </a:prstGeom>
        </p:spPr>
      </p:pic>
      <p:sp>
        <p:nvSpPr>
          <p:cNvPr id="9" name="Holder 6">
            <a:extLst>
              <a:ext uri="{FF2B5EF4-FFF2-40B4-BE49-F238E27FC236}">
                <a16:creationId xmlns:a16="http://schemas.microsoft.com/office/drawing/2014/main" id="{34FE868D-0380-B540-BB8F-223B6C8B6CA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1001D29-735C-FF4A-963A-07A38CAB1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7061187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A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1439" y="425497"/>
            <a:ext cx="10481466" cy="5135600"/>
          </a:xfrm>
        </p:spPr>
        <p:txBody>
          <a:bodyPr tIns="411480">
            <a:normAutofit/>
          </a:bodyPr>
          <a:lstStyle>
            <a:lvl1pPr marL="7700" marR="3080" indent="0" defTabSz="554401" eaLnBrk="1" fontAlgn="auto" latinLnBrk="0" hangingPunct="1">
              <a:lnSpc>
                <a:spcPts val="9500"/>
              </a:lnSpc>
              <a:spcBef>
                <a:spcPts val="1958"/>
              </a:spcBef>
              <a:spcAft>
                <a:spcPts val="0"/>
              </a:spcAft>
              <a:buClrTx/>
              <a:buSzTx/>
              <a:buFontTx/>
              <a:buNone/>
              <a:tabLst/>
              <a:defRPr sz="9458" kern="1200" spc="-6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9489">
                <a:latin typeface="Arial" charset="0"/>
                <a:ea typeface="Arial" charset="0"/>
                <a:cs typeface="Arial" charset="0"/>
              </a:defRPr>
            </a:lvl2pPr>
            <a:lvl3pPr>
              <a:defRPr sz="9489">
                <a:latin typeface="Arial" charset="0"/>
                <a:ea typeface="Arial" charset="0"/>
                <a:cs typeface="Arial" charset="0"/>
              </a:defRPr>
            </a:lvl3pPr>
            <a:lvl4pPr>
              <a:defRPr sz="9489">
                <a:latin typeface="Arial" charset="0"/>
                <a:ea typeface="Arial" charset="0"/>
                <a:cs typeface="Arial" charset="0"/>
              </a:defRPr>
            </a:lvl4pPr>
            <a:lvl5pPr>
              <a:defRPr sz="9489">
                <a:latin typeface="Arial" charset="0"/>
                <a:ea typeface="Arial" charset="0"/>
                <a:cs typeface="Arial" charset="0"/>
              </a:defRPr>
            </a:lvl5pPr>
          </a:lstStyle>
          <a:p>
            <a:pPr marL="12700" marR="5080">
              <a:lnSpc>
                <a:spcPts val="15669"/>
              </a:lnSpc>
              <a:spcBef>
                <a:spcPts val="3229"/>
              </a:spcBef>
            </a:pPr>
            <a:r>
              <a:rPr lang="en-US" sz="9489">
                <a:latin typeface="Arial"/>
                <a:cs typeface="Arial"/>
              </a:rPr>
              <a:t>Statement</a:t>
            </a:r>
          </a:p>
          <a:p>
            <a:pPr marL="12700" marR="5080">
              <a:lnSpc>
                <a:spcPts val="15669"/>
              </a:lnSpc>
              <a:spcBef>
                <a:spcPts val="3229"/>
              </a:spcBef>
            </a:pPr>
            <a:endParaRPr lang="en-US" sz="9489">
              <a:latin typeface="Arial"/>
              <a:cs typeface="Arial"/>
            </a:endParaRPr>
          </a:p>
          <a:p>
            <a:pPr marL="12700" marR="5080">
              <a:lnSpc>
                <a:spcPts val="15669"/>
              </a:lnSpc>
              <a:spcBef>
                <a:spcPts val="3229"/>
              </a:spcBef>
            </a:pPr>
            <a:endParaRPr lang="en-US" sz="9489">
              <a:latin typeface="Arial"/>
              <a:cs typeface="Arial"/>
            </a:endParaRPr>
          </a:p>
        </p:txBody>
      </p:sp>
      <p:pic>
        <p:nvPicPr>
          <p:cNvPr id="12" name="Picture 11" descr="A picture containing wheel&#10;&#10;Description automatically generated">
            <a:extLst>
              <a:ext uri="{FF2B5EF4-FFF2-40B4-BE49-F238E27FC236}">
                <a16:creationId xmlns:a16="http://schemas.microsoft.com/office/drawing/2014/main" id="{64E6C3E9-4207-9249-B0F7-90978B29CE2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8" name="Holder 6">
            <a:extLst>
              <a:ext uri="{FF2B5EF4-FFF2-40B4-BE49-F238E27FC236}">
                <a16:creationId xmlns:a16="http://schemas.microsoft.com/office/drawing/2014/main" id="{C758FB5D-0EF0-7A41-882B-E8017C9071C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0BB4385-9AF5-6142-985D-5B8685801A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185447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11" pos="1127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ES Thank You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39" y="426960"/>
            <a:ext cx="10481466" cy="1473930"/>
          </a:xfrm>
          <a:prstGeom prst="rect">
            <a:avLst/>
          </a:prstGeom>
        </p:spPr>
        <p:txBody>
          <a:bodyPr wrap="square" lIns="0" tIns="18288" rIns="0" bIns="0" anchor="t">
            <a:spAutoFit/>
          </a:bodyPr>
          <a:lstStyle>
            <a:lvl1pPr marL="7700" marR="3080">
              <a:lnSpc>
                <a:spcPct val="100000"/>
              </a:lnSpc>
              <a:spcBef>
                <a:spcPts val="69"/>
              </a:spcBef>
              <a:defRPr sz="9458" b="0" i="0" kern="1200" spc="24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114"/>
              </a:spcBef>
            </a:pPr>
            <a:r>
              <a:rPr lang="en-US" kern="0" spc="-3"/>
              <a:t>Thank you.</a:t>
            </a:r>
            <a:endParaRPr lang="en-US" kern="0"/>
          </a:p>
        </p:txBody>
      </p:sp>
      <p:pic>
        <p:nvPicPr>
          <p:cNvPr id="12" name="Picture 11" descr="A picture containing wheel&#10;&#10;Description automatically generated">
            <a:extLst>
              <a:ext uri="{FF2B5EF4-FFF2-40B4-BE49-F238E27FC236}">
                <a16:creationId xmlns:a16="http://schemas.microsoft.com/office/drawing/2014/main" id="{C8D6DC13-9230-FA47-A8EE-8E45528B933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8" name="Holder 6">
            <a:extLst>
              <a:ext uri="{FF2B5EF4-FFF2-40B4-BE49-F238E27FC236}">
                <a16:creationId xmlns:a16="http://schemas.microsoft.com/office/drawing/2014/main" id="{A34F3BBE-0388-8142-88D9-F9D87E2EDD0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CD9889C-15D4-5E44-AAB7-FBA8FA1916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026766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AES Internal [Agenda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1950352"/>
            <a:ext cx="3690219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C1BE46A8-5E78-D540-B7A4-A3ABB3FA147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1385658-B7C9-D440-949B-D94D13F175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739196"/>
            <a:ext cx="3690219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Holder 6">
            <a:extLst>
              <a:ext uri="{FF2B5EF4-FFF2-40B4-BE49-F238E27FC236}">
                <a16:creationId xmlns:a16="http://schemas.microsoft.com/office/drawing/2014/main" id="{097D15B3-42A8-6D4C-ABF7-5CA7BA9BCAE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59DAEC1-F79B-5447-9B9D-9E08CD7E64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C23C8094-582E-9C46-97B7-FD2260AABBB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16633" y="2735883"/>
            <a:ext cx="3690219" cy="3539707"/>
          </a:xfrm>
        </p:spPr>
        <p:txBody>
          <a:bodyPr/>
          <a:lstStyle>
            <a:lvl1pPr>
              <a:lnSpc>
                <a:spcPts val="2365"/>
              </a:lnSpc>
              <a:spcBef>
                <a:spcPts val="485"/>
              </a:spcBef>
              <a:spcAft>
                <a:spcPts val="485"/>
              </a:spcAft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1760" indent="-332640">
              <a:lnSpc>
                <a:spcPts val="2365"/>
              </a:lnSpc>
              <a:spcBef>
                <a:spcPts val="485"/>
              </a:spcBef>
              <a:spcAft>
                <a:spcPts val="485"/>
              </a:spcAft>
              <a:buFont typeface="+mj-lt"/>
              <a:buAutoNum type="arabicPeriod"/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7200" indent="-277200">
              <a:spcAft>
                <a:spcPts val="485"/>
              </a:spcAft>
              <a:buFont typeface="System Font Regular"/>
              <a:buChar char="→"/>
              <a:defRPr sz="1455"/>
            </a:lvl4pPr>
            <a:lvl5pPr marL="0">
              <a:spcAft>
                <a:spcPts val="485"/>
              </a:spcAft>
              <a:defRPr sz="1455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95133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519">
          <p15:clr>
            <a:srgbClr val="FBAE40"/>
          </p15:clr>
        </p15:guide>
        <p15:guide id="12" orient="horz" pos="2026">
          <p15:clr>
            <a:srgbClr val="FBAE40"/>
          </p15:clr>
        </p15:guide>
        <p15:guide id="13" orient="horz" pos="2842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7" orient="horz" pos="643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FFB57AF-F198-8649-8163-E57B45CDF9C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16632" y="381214"/>
            <a:ext cx="6972193" cy="554300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15" name="Picture 14" descr="A picture containing wheel&#10;&#10;Description automatically generated">
            <a:extLst>
              <a:ext uri="{FF2B5EF4-FFF2-40B4-BE49-F238E27FC236}">
                <a16:creationId xmlns:a16="http://schemas.microsoft.com/office/drawing/2014/main" id="{893DFAB9-DC3C-F749-AB19-2C8D1522CC0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F57EE5C5-7F1A-BA4B-A336-879F28A704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39" y="975908"/>
            <a:ext cx="3690219" cy="1026498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spcBef>
                <a:spcPts val="858"/>
              </a:spcBef>
              <a:defRPr sz="4244" kern="1200" spc="-6" baseline="0"/>
            </a:lvl1pPr>
          </a:lstStyle>
          <a:p>
            <a:r>
              <a:rPr lang="en-US"/>
              <a:t>Page 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EDCA175-78DC-024C-B777-F738F319FF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237225"/>
            <a:ext cx="3680647" cy="365811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Holder 6">
            <a:extLst>
              <a:ext uri="{FF2B5EF4-FFF2-40B4-BE49-F238E27FC236}">
                <a16:creationId xmlns:a16="http://schemas.microsoft.com/office/drawing/2014/main" id="{68105A6C-8942-264B-A101-3CC7EE365C4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1F28457-D9B6-0447-87CB-810932507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163120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4">
          <p15:clr>
            <a:srgbClr val="FBAE40"/>
          </p15:clr>
        </p15:guide>
        <p15:guide id="12" orient="horz" pos="6154">
          <p15:clr>
            <a:srgbClr val="FBAE40"/>
          </p15:clr>
        </p15:guide>
        <p15:guide id="13" orient="horz" pos="2314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95D7368-0A17-1B47-8586-4BA40EA7B47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68230" y="381214"/>
            <a:ext cx="5031065" cy="55141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8" name="object 2"/>
          <p:cNvSpPr/>
          <p:nvPr/>
        </p:nvSpPr>
        <p:spPr>
          <a:xfrm>
            <a:off x="0" y="4191428"/>
            <a:ext cx="12188825" cy="2666957"/>
          </a:xfrm>
          <a:custGeom>
            <a:avLst/>
            <a:gdLst/>
            <a:ahLst/>
            <a:cxnLst/>
            <a:rect l="l" t="t" r="r" b="b"/>
            <a:pathLst>
              <a:path w="20104100" h="4398009">
                <a:moveTo>
                  <a:pt x="0" y="4397771"/>
                </a:moveTo>
                <a:lnTo>
                  <a:pt x="20104099" y="4397771"/>
                </a:lnTo>
                <a:lnTo>
                  <a:pt x="20104099" y="0"/>
                </a:lnTo>
                <a:lnTo>
                  <a:pt x="0" y="0"/>
                </a:lnTo>
                <a:lnTo>
                  <a:pt x="0" y="4397771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4251730" y="5506116"/>
            <a:ext cx="1750284" cy="615899"/>
          </a:xfrm>
        </p:spPr>
        <p:txBody>
          <a:bodyPr>
            <a:noAutofit/>
          </a:bodyPr>
          <a:lstStyle>
            <a:lvl1pPr>
              <a:defRPr sz="1455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Column three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2317340" y="5508349"/>
            <a:ext cx="1750283" cy="615899"/>
          </a:xfrm>
        </p:spPr>
        <p:txBody>
          <a:bodyPr>
            <a:noAutofit/>
          </a:bodyPr>
          <a:lstStyle>
            <a:lvl1pPr>
              <a:defRPr sz="1455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Column two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71440" y="4646651"/>
            <a:ext cx="2724474" cy="615899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3201" y="975908"/>
            <a:ext cx="5628812" cy="513249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spcBef>
                <a:spcPts val="858"/>
              </a:spcBef>
              <a:defRPr sz="4244" kern="1200" spc="-6" baseline="0"/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181953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40" y="1597510"/>
            <a:ext cx="2724474" cy="2348120"/>
          </a:xfrm>
        </p:spPr>
        <p:txBody>
          <a:bodyPr tIns="182880">
            <a:noAutofit/>
          </a:bodyPr>
          <a:lstStyle>
            <a:lvl1pPr>
              <a:lnSpc>
                <a:spcPts val="2365"/>
              </a:lnSpc>
              <a:spcBef>
                <a:spcPts val="0"/>
              </a:spcBef>
              <a:spcAft>
                <a:spcPts val="1091"/>
              </a:spcAft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Column one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1" y="1597510"/>
            <a:ext cx="2724474" cy="2348120"/>
          </a:xfrm>
        </p:spPr>
        <p:txBody>
          <a:bodyPr tIns="182880">
            <a:noAutofit/>
          </a:bodyPr>
          <a:lstStyle>
            <a:lvl1pPr>
              <a:lnSpc>
                <a:spcPts val="2365"/>
              </a:lnSpc>
              <a:spcBef>
                <a:spcPts val="0"/>
              </a:spcBef>
              <a:spcAft>
                <a:spcPts val="1091"/>
              </a:spcAft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Column two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71439" y="5502702"/>
            <a:ext cx="1749863" cy="615899"/>
          </a:xfrm>
        </p:spPr>
        <p:txBody>
          <a:bodyPr>
            <a:noAutofit/>
          </a:bodyPr>
          <a:lstStyle>
            <a:lvl1pPr>
              <a:defRPr sz="1455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Column on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75C7DE60-CC46-8D47-A06A-2B17A0419C0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16" name="Holder 6">
            <a:extLst>
              <a:ext uri="{FF2B5EF4-FFF2-40B4-BE49-F238E27FC236}">
                <a16:creationId xmlns:a16="http://schemas.microsoft.com/office/drawing/2014/main" id="{9EA350B0-E587-5F4D-8F8F-31EF6CA405CB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9D22C19-5712-F940-AFBD-5A6CCAB10E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693401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4">
          <p15:clr>
            <a:srgbClr val="FBAE40"/>
          </p15:clr>
        </p15:guide>
        <p15:guide id="10" pos="7436">
          <p15:clr>
            <a:srgbClr val="FBAE40"/>
          </p15:clr>
        </p15:guide>
        <p15:guide id="11" pos="11276">
          <p15:clr>
            <a:srgbClr val="FBAE40"/>
          </p15:clr>
        </p15:guide>
        <p15:guide id="12" orient="horz" pos="1642">
          <p15:clr>
            <a:srgbClr val="FBAE40"/>
          </p15:clr>
        </p15:guide>
        <p15:guide id="13" orient="horz" pos="6124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6" orient="horz" pos="298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44" r="-161"/>
          <a:stretch/>
        </p:blipFill>
        <p:spPr>
          <a:xfrm>
            <a:off x="-45247" y="0"/>
            <a:ext cx="12256297" cy="6858000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 bwMode="auto">
          <a:xfrm>
            <a:off x="-11512" y="0"/>
            <a:ext cx="12188826" cy="6858000"/>
          </a:xfrm>
          <a:prstGeom prst="rect">
            <a:avLst/>
          </a:prstGeom>
          <a:solidFill>
            <a:schemeClr val="tx1">
              <a:alpha val="35000"/>
            </a:schemeClr>
          </a:soli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ES" b="1" dirty="0">
              <a:solidFill>
                <a:schemeClr val="bg1"/>
              </a:solidFill>
            </a:endParaRPr>
          </a:p>
        </p:txBody>
      </p:sp>
      <p:sp>
        <p:nvSpPr>
          <p:cNvPr id="5" name="Rectángulo 4"/>
          <p:cNvSpPr/>
          <p:nvPr/>
        </p:nvSpPr>
        <p:spPr bwMode="auto">
          <a:xfrm>
            <a:off x="0" y="0"/>
            <a:ext cx="9673402" cy="6858000"/>
          </a:xfrm>
          <a:prstGeom prst="rect">
            <a:avLst/>
          </a:prstGeom>
          <a:gradFill>
            <a:gsLst>
              <a:gs pos="76000">
                <a:schemeClr val="accent2">
                  <a:alpha val="0"/>
                </a:schemeClr>
              </a:gs>
              <a:gs pos="0">
                <a:schemeClr val="accent2">
                  <a:alpha val="50000"/>
                </a:schemeClr>
              </a:gs>
            </a:gsLst>
            <a:lin ang="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ES" b="1" dirty="0">
              <a:solidFill>
                <a:schemeClr val="bg1"/>
              </a:solidFill>
            </a:endParaRPr>
          </a:p>
        </p:txBody>
      </p:sp>
      <p:sp>
        <p:nvSpPr>
          <p:cNvPr id="2" name="Rectángulo 1"/>
          <p:cNvSpPr/>
          <p:nvPr/>
        </p:nvSpPr>
        <p:spPr bwMode="auto">
          <a:xfrm>
            <a:off x="-11511" y="0"/>
            <a:ext cx="12222560" cy="6858000"/>
          </a:xfrm>
          <a:prstGeom prst="rect">
            <a:avLst/>
          </a:prstGeom>
          <a:gradFill>
            <a:gsLst>
              <a:gs pos="0">
                <a:schemeClr val="tx2">
                  <a:alpha val="65000"/>
                </a:schemeClr>
              </a:gs>
              <a:gs pos="100000">
                <a:schemeClr val="tx2"/>
              </a:gs>
            </a:gsLst>
            <a:lin ang="540000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03166761"/>
      </p:ext>
    </p:extLst>
  </p:cSld>
  <p:clrMapOvr>
    <a:masterClrMapping/>
  </p:clrMapOvr>
  <p:hf hdr="0" ftr="0" dt="0"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C0AB3C0-200B-4B4B-B0F1-ABA44ADFE0A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86964" y="3720648"/>
            <a:ext cx="4651311" cy="238986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BE7DE52-1254-6249-ABAD-E525EA4DFF9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093482" y="3726193"/>
            <a:ext cx="1936246" cy="182428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7EBCB3D6-4D60-F14F-A0AF-3114855D24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52152" y="1968450"/>
            <a:ext cx="1934812" cy="164684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0E2EB56-7CED-7348-A58E-88E7CF5EF7B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937093"/>
            <a:ext cx="3094368" cy="267820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162686" y="937093"/>
            <a:ext cx="3692221" cy="895853"/>
          </a:xfrm>
        </p:spPr>
        <p:txBody>
          <a:bodyPr tIns="64008">
            <a:noAutofit/>
          </a:bodyPr>
          <a:lstStyle>
            <a:lvl1pPr>
              <a:lnSpc>
                <a:spcPct val="100000"/>
              </a:lnSpc>
              <a:spcBef>
                <a:spcPts val="298"/>
              </a:spcBef>
              <a:defRPr sz="2122" kern="1200" spc="-6" baseline="0"/>
            </a:lvl1pPr>
          </a:lstStyle>
          <a:p>
            <a:r>
              <a:rPr lang="en-US"/>
              <a:t>Two line </a:t>
            </a:r>
            <a:br>
              <a:rPr lang="en-US"/>
            </a:br>
            <a:r>
              <a:rPr lang="en-US"/>
              <a:t>page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181953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71439" y="4585656"/>
            <a:ext cx="1746321" cy="931548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1455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Image caption and/or tertiary information</a:t>
            </a:r>
          </a:p>
        </p:txBody>
      </p:sp>
      <p:pic>
        <p:nvPicPr>
          <p:cNvPr id="35" name="Picture 34" descr="A picture containing wheel&#10;&#10;Description automatically generated">
            <a:extLst>
              <a:ext uri="{FF2B5EF4-FFF2-40B4-BE49-F238E27FC236}">
                <a16:creationId xmlns:a16="http://schemas.microsoft.com/office/drawing/2014/main" id="{1139A26F-B067-D84F-A4E0-49B6F789055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197B536-B691-7446-9D91-744D726F3EB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40" y="3609750"/>
            <a:ext cx="11425926" cy="120496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E93359D-A64B-0D4B-B53C-424638ED95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62686" y="2095715"/>
            <a:ext cx="3692221" cy="89585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Holder 6">
            <a:extLst>
              <a:ext uri="{FF2B5EF4-FFF2-40B4-BE49-F238E27FC236}">
                <a16:creationId xmlns:a16="http://schemas.microsoft.com/office/drawing/2014/main" id="{3B0BEF5E-2804-4342-9630-9585A1E7994F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8DAE40B-6A7E-4042-9CBF-AA75ECF5588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0800893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4">
          <p15:clr>
            <a:srgbClr val="FBAE40"/>
          </p15:clr>
        </p15:guide>
        <p15:guide id="13" orient="horz" pos="2177">
          <p15:clr>
            <a:srgbClr val="FBAE40"/>
          </p15:clr>
        </p15:guide>
        <p15:guide id="14" orient="horz" pos="970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C1FF589E-7E61-B747-A809-3BF6FE1AD92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39" y="931548"/>
            <a:ext cx="11451644" cy="120767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FC26BD-B34C-064A-95F7-17557B653C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71440" y="1230974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181953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26" name="Picture 25" descr="A picture containing wheel&#10;&#10;Description automatically generated">
            <a:extLst>
              <a:ext uri="{FF2B5EF4-FFF2-40B4-BE49-F238E27FC236}">
                <a16:creationId xmlns:a16="http://schemas.microsoft.com/office/drawing/2014/main" id="{33A47EFD-824B-AA4A-9E96-1787953BB3F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46C1DB38-126E-C546-A53C-0B564AED3AC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54924" y="1230974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6E03029A-3CB6-BD47-89E5-172273E6D19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38409" y="1230974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3" name="Picture Placeholder 4">
            <a:extLst>
              <a:ext uri="{FF2B5EF4-FFF2-40B4-BE49-F238E27FC236}">
                <a16:creationId xmlns:a16="http://schemas.microsoft.com/office/drawing/2014/main" id="{8425C69D-1918-D549-9100-570B7AB92A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71440" y="3670743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9497CC5A-7566-1C48-B5D5-683A9DEF7B4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54924" y="3670743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68E12BCF-FF9A-7546-953A-CDD97377D8B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38409" y="3670743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3EB5216-7CF5-AC4C-A29A-EEB163E428FB}"/>
              </a:ext>
            </a:extLst>
          </p:cNvPr>
          <p:cNvGrpSpPr/>
          <p:nvPr/>
        </p:nvGrpSpPr>
        <p:grpSpPr>
          <a:xfrm>
            <a:off x="4053882" y="887574"/>
            <a:ext cx="4077135" cy="199647"/>
            <a:chOff x="6686423" y="1463675"/>
            <a:chExt cx="6724777" cy="32923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F0919B2-E0D4-C244-A945-9728349D1673}"/>
                </a:ext>
              </a:extLst>
            </p:cNvPr>
            <p:cNvSpPr/>
            <p:nvPr/>
          </p:nvSpPr>
          <p:spPr>
            <a:xfrm>
              <a:off x="13085763" y="1463675"/>
              <a:ext cx="325437" cy="3047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91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BD08769-5B71-F64F-BC54-9D2BF8212A8C}"/>
                </a:ext>
              </a:extLst>
            </p:cNvPr>
            <p:cNvSpPr/>
            <p:nvPr/>
          </p:nvSpPr>
          <p:spPr>
            <a:xfrm>
              <a:off x="6686423" y="1488109"/>
              <a:ext cx="325437" cy="3047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91"/>
            </a:p>
          </p:txBody>
        </p:sp>
      </p:grpSp>
      <p:sp>
        <p:nvSpPr>
          <p:cNvPr id="17" name="Holder 6">
            <a:extLst>
              <a:ext uri="{FF2B5EF4-FFF2-40B4-BE49-F238E27FC236}">
                <a16:creationId xmlns:a16="http://schemas.microsoft.com/office/drawing/2014/main" id="{273E81E8-10A1-4E4E-AA42-786546C9CB9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247CA37A-0B71-1946-9121-C831D8C981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517916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139">
          <p15:clr>
            <a:srgbClr val="FBAE40"/>
          </p15:clr>
        </p15:guide>
        <p15:guide id="12" orient="horz" pos="1271">
          <p15:clr>
            <a:srgbClr val="FBAE40"/>
          </p15:clr>
        </p15:guide>
        <p15:guide id="13" orient="horz" pos="3802">
          <p15:clr>
            <a:srgbClr val="FBAE40"/>
          </p15:clr>
        </p15:guide>
        <p15:guide id="14" orient="horz" pos="1085">
          <p15:clr>
            <a:srgbClr val="FBAE40"/>
          </p15:clr>
        </p15:guide>
        <p15:guide id="15" orient="horz" pos="6514">
          <p15:clr>
            <a:srgbClr val="FBAE40"/>
          </p15:clr>
        </p15:guide>
        <p15:guide id="16" orient="horz" pos="3600">
          <p15:clr>
            <a:srgbClr val="FBAE40"/>
          </p15:clr>
        </p15:guide>
        <p15:guide id="17" orient="horz" pos="643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181953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14" name="Picture 13" descr="A picture containing wheel&#10;&#10;Description automatically generated">
            <a:extLst>
              <a:ext uri="{FF2B5EF4-FFF2-40B4-BE49-F238E27FC236}">
                <a16:creationId xmlns:a16="http://schemas.microsoft.com/office/drawing/2014/main" id="{2AC7F684-2439-AD47-A936-BAEC54FFB61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1DF996A-4428-A844-ADA2-56775069BED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553470" y="618992"/>
            <a:ext cx="5984059" cy="598519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Holder 6">
            <a:extLst>
              <a:ext uri="{FF2B5EF4-FFF2-40B4-BE49-F238E27FC236}">
                <a16:creationId xmlns:a16="http://schemas.microsoft.com/office/drawing/2014/main" id="{6AB7BBD9-9766-3146-8122-C9C6E3F7A5B1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FF3E4F-7019-B342-BF26-AF5C2C11FD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16A64FD4-81E8-DA47-A7DC-84CECB1266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3201" y="975908"/>
            <a:ext cx="5628812" cy="513249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spcBef>
                <a:spcPts val="858"/>
              </a:spcBef>
              <a:defRPr sz="4244" kern="1200" spc="-6" baseline="0"/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238872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2">
            <a:extLst>
              <a:ext uri="{FF2B5EF4-FFF2-40B4-BE49-F238E27FC236}">
                <a16:creationId xmlns:a16="http://schemas.microsoft.com/office/drawing/2014/main" id="{791688A6-CF45-7449-9CB2-A24896AFBAC5}"/>
              </a:ext>
            </a:extLst>
          </p:cNvPr>
          <p:cNvSpPr/>
          <p:nvPr/>
        </p:nvSpPr>
        <p:spPr>
          <a:xfrm>
            <a:off x="5223142" y="385"/>
            <a:ext cx="6966033" cy="6857615"/>
          </a:xfrm>
          <a:custGeom>
            <a:avLst/>
            <a:gdLst/>
            <a:ahLst/>
            <a:cxnLst/>
            <a:rect l="l" t="t" r="r" b="b"/>
            <a:pathLst>
              <a:path w="11489690" h="11308715">
                <a:moveTo>
                  <a:pt x="0" y="11308556"/>
                </a:moveTo>
                <a:lnTo>
                  <a:pt x="11489178" y="11308556"/>
                </a:lnTo>
                <a:lnTo>
                  <a:pt x="11489178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3201" y="975908"/>
            <a:ext cx="3688457" cy="1026498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spcBef>
                <a:spcPts val="0"/>
              </a:spcBef>
              <a:defRPr sz="4244" kern="1200" spc="-6" baseline="0"/>
            </a:lvl1pPr>
          </a:lstStyle>
          <a:p>
            <a:r>
              <a:rPr lang="en-US"/>
              <a:t>Pag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88379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3551FB62-DBA4-F947-B9F2-3141E9F1047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84CD10-14F1-4C4A-B3C8-DAA6EA25BA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1439" y="2225673"/>
            <a:ext cx="3695917" cy="4049917"/>
          </a:xfrm>
        </p:spPr>
        <p:txBody>
          <a:bodyPr/>
          <a:lstStyle>
            <a:lvl1pPr>
              <a:lnSpc>
                <a:spcPts val="2365"/>
              </a:lnSpc>
              <a:spcBef>
                <a:spcPts val="485"/>
              </a:spcBef>
              <a:spcAft>
                <a:spcPts val="485"/>
              </a:spcAft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lnSpc>
                <a:spcPts val="2365"/>
              </a:lnSpc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7200" indent="-277200">
              <a:spcAft>
                <a:spcPts val="485"/>
              </a:spcAft>
              <a:buFont typeface="System Font Regular"/>
              <a:buChar char="→"/>
              <a:defRPr sz="1455"/>
            </a:lvl4pPr>
            <a:lvl5pPr marL="0">
              <a:spcAft>
                <a:spcPts val="485"/>
              </a:spcAft>
              <a:defRPr sz="1455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E2E6038-721A-CE45-850C-F99F94440DD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94510" y="989616"/>
            <a:ext cx="4658395" cy="438010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Holder 6">
            <a:extLst>
              <a:ext uri="{FF2B5EF4-FFF2-40B4-BE49-F238E27FC236}">
                <a16:creationId xmlns:a16="http://schemas.microsoft.com/office/drawing/2014/main" id="{CEE9BD36-3C6B-FA47-93F9-9F7D70B7DC1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0821BEA-DDFB-B648-A500-7B808FD005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1444671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12" orient="horz" pos="6519">
          <p15:clr>
            <a:srgbClr val="FBAE40"/>
          </p15:clr>
        </p15:guide>
        <p15:guide id="13" orient="horz" pos="2314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AES Internal [2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2">
            <a:extLst>
              <a:ext uri="{FF2B5EF4-FFF2-40B4-BE49-F238E27FC236}">
                <a16:creationId xmlns:a16="http://schemas.microsoft.com/office/drawing/2014/main" id="{791688A6-CF45-7449-9CB2-A24896AFBAC5}"/>
              </a:ext>
            </a:extLst>
          </p:cNvPr>
          <p:cNvSpPr/>
          <p:nvPr/>
        </p:nvSpPr>
        <p:spPr>
          <a:xfrm>
            <a:off x="5309030" y="385"/>
            <a:ext cx="6966033" cy="6857615"/>
          </a:xfrm>
          <a:custGeom>
            <a:avLst/>
            <a:gdLst/>
            <a:ahLst/>
            <a:cxnLst/>
            <a:rect l="l" t="t" r="r" b="b"/>
            <a:pathLst>
              <a:path w="11489690" h="11308715">
                <a:moveTo>
                  <a:pt x="0" y="11308556"/>
                </a:moveTo>
                <a:lnTo>
                  <a:pt x="11489178" y="11308556"/>
                </a:lnTo>
                <a:lnTo>
                  <a:pt x="11489178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3201" y="975908"/>
            <a:ext cx="3688457" cy="1026498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spcBef>
                <a:spcPts val="0"/>
              </a:spcBef>
              <a:defRPr sz="4244" kern="1200" spc="-6" baseline="0"/>
            </a:lvl1pPr>
          </a:lstStyle>
          <a:p>
            <a:r>
              <a:rPr lang="en-US"/>
              <a:t>Pag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88379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3551FB62-DBA4-F947-B9F2-3141E9F1047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84CD10-14F1-4C4A-B3C8-DAA6EA25BA1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39" y="2225673"/>
            <a:ext cx="3695917" cy="4049917"/>
          </a:xfrm>
        </p:spPr>
        <p:txBody>
          <a:bodyPr/>
          <a:lstStyle>
            <a:lvl1pPr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7200" indent="-277200"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Holder 6">
            <a:extLst>
              <a:ext uri="{FF2B5EF4-FFF2-40B4-BE49-F238E27FC236}">
                <a16:creationId xmlns:a16="http://schemas.microsoft.com/office/drawing/2014/main" id="{C95EDC03-31B7-804E-AEDD-359A186FE21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28F73E6-AF80-9445-B5C5-CF00EC51B18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C51953F-3B4D-6245-AF7D-7B91EFDE28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92185" y="2220860"/>
            <a:ext cx="3695917" cy="4049917"/>
          </a:xfrm>
        </p:spPr>
        <p:txBody>
          <a:bodyPr/>
          <a:lstStyle>
            <a:lvl1pPr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7200" indent="-277200"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0218351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12" orient="horz" pos="6519">
          <p15:clr>
            <a:srgbClr val="FBAE40"/>
          </p15:clr>
        </p15:guide>
        <p15:guide id="13" orient="horz" pos="2314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 AES Internal [2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2">
            <a:extLst>
              <a:ext uri="{FF2B5EF4-FFF2-40B4-BE49-F238E27FC236}">
                <a16:creationId xmlns:a16="http://schemas.microsoft.com/office/drawing/2014/main" id="{791688A6-CF45-7449-9CB2-A24896AFBAC5}"/>
              </a:ext>
            </a:extLst>
          </p:cNvPr>
          <p:cNvSpPr/>
          <p:nvPr/>
        </p:nvSpPr>
        <p:spPr>
          <a:xfrm>
            <a:off x="5221514" y="0"/>
            <a:ext cx="6966033" cy="6857615"/>
          </a:xfrm>
          <a:custGeom>
            <a:avLst/>
            <a:gdLst/>
            <a:ahLst/>
            <a:cxnLst/>
            <a:rect l="l" t="t" r="r" b="b"/>
            <a:pathLst>
              <a:path w="11489690" h="11308715">
                <a:moveTo>
                  <a:pt x="0" y="11308556"/>
                </a:moveTo>
                <a:lnTo>
                  <a:pt x="11489178" y="11308556"/>
                </a:lnTo>
                <a:lnTo>
                  <a:pt x="11489178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5" name="Picture 14" descr="A picture containing wheel&#10;&#10;Description automatically generated">
            <a:extLst>
              <a:ext uri="{FF2B5EF4-FFF2-40B4-BE49-F238E27FC236}">
                <a16:creationId xmlns:a16="http://schemas.microsoft.com/office/drawing/2014/main" id="{7525D4D8-0C2C-4740-92DB-9F85C07F0D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B4CF491-4EFB-084D-A61D-19BB5F745B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9284" y="975908"/>
            <a:ext cx="4662553" cy="5285897"/>
          </a:xfrm>
        </p:spPr>
        <p:txBody>
          <a:bodyPr>
            <a:normAutofit/>
          </a:bodyPr>
          <a:lstStyle>
            <a:lvl1pPr marL="0" indent="0">
              <a:lnSpc>
                <a:spcPts val="4002"/>
              </a:lnSpc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4244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lnSpc>
                <a:spcPct val="100000"/>
              </a:lnSpc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lang="en-US" sz="1455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>
              <a:defRPr lang="en-US" sz="1455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>
              <a:defRPr lang="en-US" sz="1455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0" lvl="2">
              <a:spcAft>
                <a:spcPts val="485"/>
              </a:spcAft>
            </a:pPr>
            <a:r>
              <a:rPr lang="en-US"/>
              <a:t>Third level</a:t>
            </a:r>
          </a:p>
          <a:p>
            <a:pPr marL="277200" lvl="3" indent="-277200">
              <a:spcAft>
                <a:spcPts val="485"/>
              </a:spcAft>
              <a:buFont typeface="System Font Regular"/>
              <a:buChar char="→"/>
            </a:pPr>
            <a:r>
              <a:rPr lang="en-US"/>
              <a:t>Fourth level</a:t>
            </a:r>
          </a:p>
          <a:p>
            <a:pPr marL="0" lvl="4">
              <a:spcAft>
                <a:spcPts val="485"/>
              </a:spcAft>
            </a:pPr>
            <a:r>
              <a:rPr lang="en-US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83CE846-9DEF-F54D-B67D-F1527206089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1693" y="975908"/>
            <a:ext cx="4661212" cy="529952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-44352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lang="en-US" sz="1455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>
              <a:spcAft>
                <a:spcPts val="485"/>
              </a:spcAft>
              <a:buFont typeface="System Font Regular"/>
              <a:defRPr lang="en-US" sz="1455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>
              <a:defRPr lang="en-US" sz="1455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0" lvl="2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</a:pPr>
            <a:r>
              <a:rPr lang="en-US"/>
              <a:t>Third level</a:t>
            </a:r>
          </a:p>
          <a:p>
            <a:pPr marL="277200" lvl="3" indent="-277200">
              <a:spcAft>
                <a:spcPts val="485"/>
              </a:spcAft>
              <a:buFont typeface="System Font Regular"/>
              <a:buChar char="→"/>
            </a:pPr>
            <a:r>
              <a:rPr lang="en-US"/>
              <a:t>Fourth level</a:t>
            </a:r>
          </a:p>
          <a:p>
            <a:pPr marL="0" lvl="4">
              <a:spcAft>
                <a:spcPts val="485"/>
              </a:spcAft>
            </a:pPr>
            <a:r>
              <a:rPr lang="en-US"/>
              <a:t>Fifth level</a:t>
            </a:r>
          </a:p>
        </p:txBody>
      </p:sp>
      <p:sp>
        <p:nvSpPr>
          <p:cNvPr id="12" name="Holder 6">
            <a:extLst>
              <a:ext uri="{FF2B5EF4-FFF2-40B4-BE49-F238E27FC236}">
                <a16:creationId xmlns:a16="http://schemas.microsoft.com/office/drawing/2014/main" id="{5568332A-3C71-D54E-B118-FE100A550DC1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6FB4913-1BE1-2E46-929D-DB8BDFE78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296787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4" orient="horz" pos="1021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 AES Internal [3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1950352"/>
            <a:ext cx="3690219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6454" y="1950352"/>
            <a:ext cx="3695917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32864" y="1950352"/>
            <a:ext cx="3690219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C1BE46A8-5E78-D540-B7A4-A3ABB3FA147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1385658-B7C9-D440-949B-D94D13F175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739196"/>
            <a:ext cx="3690219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AEE4267-A41A-5140-83CE-41FEC571290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39447" y="2739196"/>
            <a:ext cx="3695917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62572B3-F251-1D45-8BFA-4003EE28528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8850" y="2739196"/>
            <a:ext cx="3690220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Holder 6">
            <a:extLst>
              <a:ext uri="{FF2B5EF4-FFF2-40B4-BE49-F238E27FC236}">
                <a16:creationId xmlns:a16="http://schemas.microsoft.com/office/drawing/2014/main" id="{097D15B3-42A8-6D4C-ABF7-5CA7BA9BCAE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59DAEC1-F79B-5447-9B9D-9E08CD7E64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893422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519">
          <p15:clr>
            <a:srgbClr val="FBAE40"/>
          </p15:clr>
        </p15:guide>
        <p15:guide id="12" orient="horz" pos="2026">
          <p15:clr>
            <a:srgbClr val="FBAE40"/>
          </p15:clr>
        </p15:guide>
        <p15:guide id="13" orient="horz" pos="2842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7" orient="horz" pos="643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 AES Internal [3 Column 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14529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4036709"/>
            <a:ext cx="3690219" cy="621498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6454" y="4036709"/>
            <a:ext cx="3695917" cy="621498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27166" y="4036709"/>
            <a:ext cx="3695917" cy="621498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pic>
        <p:nvPicPr>
          <p:cNvPr id="18" name="Picture 17" descr="A picture containing wheel&#10;&#10;Description automatically generated">
            <a:extLst>
              <a:ext uri="{FF2B5EF4-FFF2-40B4-BE49-F238E27FC236}">
                <a16:creationId xmlns:a16="http://schemas.microsoft.com/office/drawing/2014/main" id="{C2157615-D9F9-6940-8E15-578A5562F2E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CC0ECDD-BAC6-C443-B041-A212411416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4907648"/>
            <a:ext cx="3690219" cy="137125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C45F515-B6F2-2B42-A0E4-EF5C046384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21469" y="4907648"/>
            <a:ext cx="3695917" cy="137125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EE0980D-BC13-8F42-956B-E113FBFB24C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43606" y="4907648"/>
            <a:ext cx="3695917" cy="137125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06A6E82-1007-3046-9A83-7E172C222A9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742" y="979990"/>
            <a:ext cx="3695917" cy="286488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A919393-093C-F948-B8CB-0314CBC5A7C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246454" y="979990"/>
            <a:ext cx="3695917" cy="286488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9449791-FEF1-D843-BAEC-4498C148369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7166" y="979990"/>
            <a:ext cx="3695917" cy="286488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Holder 6">
            <a:extLst>
              <a:ext uri="{FF2B5EF4-FFF2-40B4-BE49-F238E27FC236}">
                <a16:creationId xmlns:a16="http://schemas.microsoft.com/office/drawing/2014/main" id="{A8425E57-4C38-AD4D-A99A-FFF14F177D4C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83B4DCA-1D25-D441-88B5-74DD837EC8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0435289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3" orient="horz" pos="5098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6" orient="horz" pos="4186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 AES Internal [4 Column 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/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3216060"/>
            <a:ext cx="2720041" cy="518848"/>
          </a:xfrm>
        </p:spPr>
        <p:txBody>
          <a:bodyPr tIns="9144">
            <a:normAutofit/>
          </a:bodyPr>
          <a:lstStyle>
            <a:lvl1pPr marL="0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1218" y="3216060"/>
            <a:ext cx="2720040" cy="518848"/>
          </a:xfrm>
        </p:spPr>
        <p:txBody>
          <a:bodyPr tIns="9144">
            <a:normAutofit/>
          </a:bodyPr>
          <a:lstStyle>
            <a:lvl1pPr marL="0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01196" y="3216060"/>
            <a:ext cx="2720040" cy="518848"/>
          </a:xfrm>
        </p:spPr>
        <p:txBody>
          <a:bodyPr tIns="9144">
            <a:normAutofit/>
          </a:bodyPr>
          <a:lstStyle>
            <a:lvl1pPr marL="0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A76F70D-96D0-104C-A023-D33CFDD6D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77569" y="3216060"/>
            <a:ext cx="2720040" cy="518848"/>
          </a:xfrm>
        </p:spPr>
        <p:txBody>
          <a:bodyPr tIns="9144">
            <a:normAutofit/>
          </a:bodyPr>
          <a:lstStyle>
            <a:lvl1pPr marL="0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58" name="Picture 57" descr="A picture containing wheel&#10;&#10;Description automatically generated">
            <a:extLst>
              <a:ext uri="{FF2B5EF4-FFF2-40B4-BE49-F238E27FC236}">
                <a16:creationId xmlns:a16="http://schemas.microsoft.com/office/drawing/2014/main" id="{C45FBAE5-9C69-3D4D-8D0B-EB30E418B76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F17BD89D-839A-7F43-BFE4-3C3D5BC838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3470" y="3992350"/>
            <a:ext cx="2717740" cy="229209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33812876-F3D0-BF4A-ABF9-0D0626AF4A5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77112" y="3992350"/>
            <a:ext cx="2717740" cy="229209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A0301BE8-9C73-E74B-9FBD-9CB850EE381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8267" y="3992350"/>
            <a:ext cx="2717740" cy="229209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65512032-830E-4547-A341-F62A78C8D2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5754" y="3992350"/>
            <a:ext cx="2717740" cy="229209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6EC01602-C819-B34F-9755-15789967040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742" y="979989"/>
            <a:ext cx="2717740" cy="197862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9A26958C-B51A-144D-BBBB-32201A2BDD5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276276" y="979989"/>
            <a:ext cx="2717740" cy="197862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8D8F022D-5556-254C-A105-8AB0AD2A5F9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186811" y="979989"/>
            <a:ext cx="2717740" cy="197862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6AB2F741-53F4-BE48-A8FC-622B74F6625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097345" y="979989"/>
            <a:ext cx="2717740" cy="197862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Holder 6">
            <a:extLst>
              <a:ext uri="{FF2B5EF4-FFF2-40B4-BE49-F238E27FC236}">
                <a16:creationId xmlns:a16="http://schemas.microsoft.com/office/drawing/2014/main" id="{AD7DD2E0-71A1-1D4E-9B38-473F805C0EE4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14B79C3-514A-814E-B989-A219DC3ADEB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6027485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2" orient="horz" pos="3322">
          <p15:clr>
            <a:srgbClr val="FBAE40"/>
          </p15:clr>
        </p15:guide>
        <p15:guide id="13" orient="horz" pos="4138">
          <p15:clr>
            <a:srgbClr val="FBAE40"/>
          </p15:clr>
        </p15:guide>
        <p15:guide id="14" orient="horz" pos="5603">
          <p15:clr>
            <a:srgbClr val="FBAE40"/>
          </p15:clr>
        </p15:guide>
        <p15:guide id="17" orient="horz" pos="298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 AES Internal [4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6C723557-140B-294B-883B-2674F360C7C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194510" y="4074894"/>
            <a:ext cx="2697865" cy="2190247"/>
          </a:xfrm>
        </p:spPr>
        <p:txBody>
          <a:bodyPr>
            <a:noAutofit/>
          </a:bodyPr>
          <a:lstStyle>
            <a:lvl1pPr marL="443521" indent="-44352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1455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521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sz="145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/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975908"/>
            <a:ext cx="2720041" cy="1032097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wo 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4511" y="975908"/>
            <a:ext cx="2697865" cy="1032097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wo 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97345" y="975908"/>
            <a:ext cx="2722197" cy="1032097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wo line titl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A76F70D-96D0-104C-A023-D33CFDD6D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04150" y="975908"/>
            <a:ext cx="2697865" cy="1032097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wo line title</a:t>
            </a:r>
          </a:p>
        </p:txBody>
      </p:sp>
      <p:pic>
        <p:nvPicPr>
          <p:cNvPr id="41" name="Picture 40" descr="A picture containing wheel&#10;&#10;Description automatically generated">
            <a:extLst>
              <a:ext uri="{FF2B5EF4-FFF2-40B4-BE49-F238E27FC236}">
                <a16:creationId xmlns:a16="http://schemas.microsoft.com/office/drawing/2014/main" id="{58984222-93F8-7048-9ECE-5534D90B02C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DBA9D78-C24E-3542-B126-B9D0417DAE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226636"/>
            <a:ext cx="2720041" cy="157202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E507EFF1-AFB5-6443-9951-68BA6175945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304150" y="2226636"/>
            <a:ext cx="2697865" cy="157202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D9D058CD-3278-2748-B4B3-C06320E484E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94512" y="2226636"/>
            <a:ext cx="2697865" cy="157202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0F275BCE-FC74-0A46-A675-0F617C1130E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97345" y="2226636"/>
            <a:ext cx="2722197" cy="157202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02606580-C414-C44C-B66A-A3091B3247B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04150" y="4074894"/>
            <a:ext cx="2697865" cy="2190247"/>
          </a:xfrm>
        </p:spPr>
        <p:txBody>
          <a:bodyPr>
            <a:noAutofit/>
          </a:bodyPr>
          <a:lstStyle>
            <a:lvl1pPr marL="443521" indent="-44352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1455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521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sz="145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B4EB9E0-49C9-E34E-A023-1A9483B06B8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71439" y="4074894"/>
            <a:ext cx="2720041" cy="2190247"/>
          </a:xfrm>
        </p:spPr>
        <p:txBody>
          <a:bodyPr>
            <a:noAutofit/>
          </a:bodyPr>
          <a:lstStyle>
            <a:lvl1pPr marL="443521" indent="-44352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1455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521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sz="145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90CDAACA-09B9-C346-9A39-627C1D8A901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97345" y="4074894"/>
            <a:ext cx="2722197" cy="2190247"/>
          </a:xfrm>
        </p:spPr>
        <p:txBody>
          <a:bodyPr>
            <a:noAutofit/>
          </a:bodyPr>
          <a:lstStyle>
            <a:lvl1pPr marL="443521" indent="-44352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1455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521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sz="145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Holder 6">
            <a:extLst>
              <a:ext uri="{FF2B5EF4-FFF2-40B4-BE49-F238E27FC236}">
                <a16:creationId xmlns:a16="http://schemas.microsoft.com/office/drawing/2014/main" id="{672AB3D8-585E-B846-AF90-18EE3FECA32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D9DE861A-D6C1-6C4C-A17B-5F1F5338C83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698050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2" orient="horz" pos="4224">
          <p15:clr>
            <a:srgbClr val="FBAE40"/>
          </p15:clr>
        </p15:guide>
        <p15:guide id="13" orient="horz" pos="2313">
          <p15:clr>
            <a:srgbClr val="FBAE40"/>
          </p15:clr>
        </p15:guide>
        <p15:guide id="14" orient="horz" pos="1004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344400" cy="6878782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 bwMode="auto">
          <a:xfrm>
            <a:off x="0" y="3462376"/>
            <a:ext cx="12344400" cy="3397802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540000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  <p:sp>
        <p:nvSpPr>
          <p:cNvPr id="5" name="Rectángulo 4"/>
          <p:cNvSpPr/>
          <p:nvPr/>
        </p:nvSpPr>
        <p:spPr bwMode="auto">
          <a:xfrm rot="5400000">
            <a:off x="392972" y="-392972"/>
            <a:ext cx="6878782" cy="7664726"/>
          </a:xfrm>
          <a:prstGeom prst="rect">
            <a:avLst/>
          </a:prstGeo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540000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7167412"/>
      </p:ext>
    </p:extLst>
  </p:cSld>
  <p:clrMapOvr>
    <a:masterClrMapping/>
  </p:clrMapOvr>
  <p:hf hdr="0" ftr="0" dt="0"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 AES Internal [6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39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942638"/>
            <a:ext cx="3690218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6454" y="942638"/>
            <a:ext cx="3695916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27166" y="942638"/>
            <a:ext cx="3692375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85AE1DE9-C4DC-0747-9E4D-B3297B6A5CF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39" y="3770552"/>
            <a:ext cx="3690218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38B1B4F7-4313-9A48-94FC-A21951398B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46454" y="3770552"/>
            <a:ext cx="3695916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30A0D0DA-ECF4-D546-9966-CE4A8AFD937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27166" y="3770552"/>
            <a:ext cx="3692375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pic>
        <p:nvPicPr>
          <p:cNvPr id="46" name="Picture 45" descr="A picture containing wheel&#10;&#10;Description automatically generated">
            <a:extLst>
              <a:ext uri="{FF2B5EF4-FFF2-40B4-BE49-F238E27FC236}">
                <a16:creationId xmlns:a16="http://schemas.microsoft.com/office/drawing/2014/main" id="{E4223E6B-0F11-0342-8303-C9ED1F40475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CB3DD61E-93BD-3B4E-9A3C-A73A593459B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1439" y="4652196"/>
            <a:ext cx="3690219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273BB677-CF77-3443-83E9-67F96FE1D5B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246454" y="4652196"/>
            <a:ext cx="3695917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85A78AD6-DDEA-B94C-8CDE-8EBD70BE250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7167" y="4652196"/>
            <a:ext cx="3692375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BA4202AB-2831-C540-8D23-D37E42B301D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71439" y="1819241"/>
            <a:ext cx="3690219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F7A92D07-F8E0-BF47-BF8A-45D79F48529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46454" y="1819241"/>
            <a:ext cx="3695917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0790FE8D-1A26-C246-9C82-5A5EFC7F88D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127167" y="1819241"/>
            <a:ext cx="3692375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Holder 6">
            <a:extLst>
              <a:ext uri="{FF2B5EF4-FFF2-40B4-BE49-F238E27FC236}">
                <a16:creationId xmlns:a16="http://schemas.microsoft.com/office/drawing/2014/main" id="{C9635295-E32A-C549-AE56-00BF937C60AB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E28DE288-1D05-1547-B26F-714639A1DF0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7847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490">
          <p15:clr>
            <a:srgbClr val="FBAE40"/>
          </p15:clr>
        </p15:guide>
        <p15:guide id="13" orient="horz" pos="1882">
          <p15:clr>
            <a:srgbClr val="FBAE40"/>
          </p15:clr>
        </p15:guide>
        <p15:guide id="14" orient="horz" pos="970">
          <p15:clr>
            <a:srgbClr val="FBAE40"/>
          </p15:clr>
        </p15:guide>
        <p15:guide id="17" orient="horz" pos="4837">
          <p15:clr>
            <a:srgbClr val="FBAE40"/>
          </p15:clr>
        </p15:guide>
        <p15:guide id="20" orient="horz" pos="3917">
          <p15:clr>
            <a:srgbClr val="FBAE40"/>
          </p15:clr>
        </p15:guide>
        <p15:guide id="21" orient="horz" pos="1611">
          <p15:clr>
            <a:srgbClr val="FBAE40"/>
          </p15:clr>
        </p15:guide>
        <p15:guide id="22" orient="horz" pos="4545">
          <p15:clr>
            <a:srgbClr val="FBAE40"/>
          </p15:clr>
        </p15:guide>
        <p15:guide id="23" orient="horz" pos="643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 AES Internal [6 Grid 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object 9">
            <a:extLst>
              <a:ext uri="{FF2B5EF4-FFF2-40B4-BE49-F238E27FC236}">
                <a16:creationId xmlns:a16="http://schemas.microsoft.com/office/drawing/2014/main" id="{2FB943FF-8B77-BA40-897F-995F9B88CB58}"/>
              </a:ext>
            </a:extLst>
          </p:cNvPr>
          <p:cNvSpPr/>
          <p:nvPr/>
        </p:nvSpPr>
        <p:spPr>
          <a:xfrm>
            <a:off x="4195133" y="3521031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4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8" name="object 2">
            <a:extLst>
              <a:ext uri="{FF2B5EF4-FFF2-40B4-BE49-F238E27FC236}">
                <a16:creationId xmlns:a16="http://schemas.microsoft.com/office/drawing/2014/main" id="{6BB95872-F51B-D049-8879-0CA8E559C6D6}"/>
              </a:ext>
            </a:extLst>
          </p:cNvPr>
          <p:cNvSpPr/>
          <p:nvPr/>
        </p:nvSpPr>
        <p:spPr>
          <a:xfrm>
            <a:off x="371440" y="981453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5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 spc="-6" baseline="0"/>
          </a:p>
        </p:txBody>
      </p:sp>
      <p:sp>
        <p:nvSpPr>
          <p:cNvPr id="60" name="object 4">
            <a:extLst>
              <a:ext uri="{FF2B5EF4-FFF2-40B4-BE49-F238E27FC236}">
                <a16:creationId xmlns:a16="http://schemas.microsoft.com/office/drawing/2014/main" id="{686A7363-E8B5-374F-99FC-667EB0953A7E}"/>
              </a:ext>
            </a:extLst>
          </p:cNvPr>
          <p:cNvSpPr/>
          <p:nvPr/>
        </p:nvSpPr>
        <p:spPr>
          <a:xfrm>
            <a:off x="8002090" y="981453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5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975924-3337-DC45-A059-6916F5829F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6900" y="1114531"/>
            <a:ext cx="1554403" cy="405933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E563CE52-0B2A-FC45-9BA3-B228D53434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5475" y="3676288"/>
            <a:ext cx="1557069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6" name="Text Placeholder 3">
            <a:extLst>
              <a:ext uri="{FF2B5EF4-FFF2-40B4-BE49-F238E27FC236}">
                <a16:creationId xmlns:a16="http://schemas.microsoft.com/office/drawing/2014/main" id="{23B0CCAE-3E3E-524A-9978-45E0360424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79661" y="1114531"/>
            <a:ext cx="1569347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7" name="Text Placeholder 3">
            <a:extLst>
              <a:ext uri="{FF2B5EF4-FFF2-40B4-BE49-F238E27FC236}">
                <a16:creationId xmlns:a16="http://schemas.microsoft.com/office/drawing/2014/main" id="{991E0909-7CF2-C847-9F00-BEB6C298BE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9661" y="3676288"/>
            <a:ext cx="1569347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51CE83B5-6886-844E-8EFD-166FD9A10C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82759" y="3676288"/>
            <a:ext cx="1561371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99160EDD-353C-D041-809C-866103654C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82759" y="1114531"/>
            <a:ext cx="1561371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26" name="Picture 25" descr="A picture containing wheel&#10;&#10;Description automatically generated">
            <a:extLst>
              <a:ext uri="{FF2B5EF4-FFF2-40B4-BE49-F238E27FC236}">
                <a16:creationId xmlns:a16="http://schemas.microsoft.com/office/drawing/2014/main" id="{927658FD-7870-8C4E-B863-4E23D5B7974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E7D16D-77CA-754B-860C-AC3D1719D9F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335920" y="1395859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DA236BD8-75EF-8444-B8AF-7E2EB9FC37B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16633" y="1395859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2D9BD3E9-72E7-C147-A2D4-859F993768B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097345" y="1395859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40E6A6F4-B474-FF42-BACD-1144AAD2FDF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335920" y="3983493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EB16904F-05C4-FB4E-8E41-DC88FF4657A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216633" y="3983493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0CFDD25B-241C-EE4B-99F8-89DA1BAE632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097345" y="3983493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3" name="Holder 6">
            <a:extLst>
              <a:ext uri="{FF2B5EF4-FFF2-40B4-BE49-F238E27FC236}">
                <a16:creationId xmlns:a16="http://schemas.microsoft.com/office/drawing/2014/main" id="{EA485649-022B-3946-8A30-C2DD152AFF58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2450B02-C863-3241-B588-316C0DF9B8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772434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8">
          <p15:clr>
            <a:srgbClr val="FBAE40"/>
          </p15:clr>
        </p15:guide>
        <p15:guide id="4" orient="horz" pos="6519">
          <p15:clr>
            <a:srgbClr val="FBAE40"/>
          </p15:clr>
        </p15:guide>
        <p15:guide id="12" orient="horz" pos="3648">
          <p15:clr>
            <a:srgbClr val="FBAE40"/>
          </p15:clr>
        </p15:guide>
        <p15:guide id="13" orient="horz" pos="6310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5" orient="horz" pos="638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 AES Internal [6 Grid 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26" name="Picture 25" descr="A picture containing wheel&#10;&#10;Description automatically generated">
            <a:extLst>
              <a:ext uri="{FF2B5EF4-FFF2-40B4-BE49-F238E27FC236}">
                <a16:creationId xmlns:a16="http://schemas.microsoft.com/office/drawing/2014/main" id="{927658FD-7870-8C4E-B863-4E23D5B7974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22" name="Holder 6">
            <a:extLst>
              <a:ext uri="{FF2B5EF4-FFF2-40B4-BE49-F238E27FC236}">
                <a16:creationId xmlns:a16="http://schemas.microsoft.com/office/drawing/2014/main" id="{8E1F3504-BD62-B24E-AC65-38655A6B2AD8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6E1CB1-F6A0-D145-B486-3814B7531D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975924-3337-DC45-A059-6916F5829F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7632" y="1114531"/>
            <a:ext cx="1554402" cy="405933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E563CE52-0B2A-FC45-9BA3-B228D53434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6208" y="3676288"/>
            <a:ext cx="1554402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6" name="Text Placeholder 3">
            <a:extLst>
              <a:ext uri="{FF2B5EF4-FFF2-40B4-BE49-F238E27FC236}">
                <a16:creationId xmlns:a16="http://schemas.microsoft.com/office/drawing/2014/main" id="{23B0CCAE-3E3E-524A-9978-45E0360424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6920" y="1114531"/>
            <a:ext cx="1554402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7" name="Text Placeholder 3">
            <a:extLst>
              <a:ext uri="{FF2B5EF4-FFF2-40B4-BE49-F238E27FC236}">
                <a16:creationId xmlns:a16="http://schemas.microsoft.com/office/drawing/2014/main" id="{991E0909-7CF2-C847-9F00-BEB6C298BE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66920" y="3676288"/>
            <a:ext cx="1554402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51CE83B5-6886-844E-8EFD-166FD9A10C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43326" y="3676288"/>
            <a:ext cx="1554402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99160EDD-353C-D041-809C-866103654C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43326" y="1114531"/>
            <a:ext cx="1554402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0301970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519">
          <p15:clr>
            <a:srgbClr val="FBAE40"/>
          </p15:clr>
        </p15:guide>
        <p15:guide id="12" orient="horz" pos="3610">
          <p15:clr>
            <a:srgbClr val="FBAE40"/>
          </p15:clr>
        </p15:guide>
        <p15:guide id="13" orient="horz" pos="6310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5" orient="horz" pos="638">
          <p15:clr>
            <a:srgbClr val="FBAE40"/>
          </p15:clr>
        </p15:guide>
      </p15:sldGuideLst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 AES Internal [6 Grid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ject 9">
            <a:extLst>
              <a:ext uri="{FF2B5EF4-FFF2-40B4-BE49-F238E27FC236}">
                <a16:creationId xmlns:a16="http://schemas.microsoft.com/office/drawing/2014/main" id="{CB6F4EB2-167E-924A-A56F-B516773A281E}"/>
              </a:ext>
            </a:extLst>
          </p:cNvPr>
          <p:cNvSpPr/>
          <p:nvPr/>
        </p:nvSpPr>
        <p:spPr>
          <a:xfrm>
            <a:off x="4195133" y="3521031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4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18" name="object 2">
            <a:extLst>
              <a:ext uri="{FF2B5EF4-FFF2-40B4-BE49-F238E27FC236}">
                <a16:creationId xmlns:a16="http://schemas.microsoft.com/office/drawing/2014/main" id="{8C39E4CC-CB02-2E42-A5BF-1E07B8E526FF}"/>
              </a:ext>
            </a:extLst>
          </p:cNvPr>
          <p:cNvSpPr/>
          <p:nvPr/>
        </p:nvSpPr>
        <p:spPr>
          <a:xfrm>
            <a:off x="371440" y="981453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5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 spc="-6" baseline="0"/>
          </a:p>
        </p:txBody>
      </p:sp>
      <p:sp>
        <p:nvSpPr>
          <p:cNvPr id="19" name="object 4">
            <a:extLst>
              <a:ext uri="{FF2B5EF4-FFF2-40B4-BE49-F238E27FC236}">
                <a16:creationId xmlns:a16="http://schemas.microsoft.com/office/drawing/2014/main" id="{67A8D81B-9F2E-CC43-970C-D25056A531C7}"/>
              </a:ext>
            </a:extLst>
          </p:cNvPr>
          <p:cNvSpPr/>
          <p:nvPr/>
        </p:nvSpPr>
        <p:spPr>
          <a:xfrm>
            <a:off x="8002090" y="981453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5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CA15B3B0-3924-4040-977E-CF3592326F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5764" y="1316948"/>
            <a:ext cx="3402245" cy="1694655"/>
          </a:xfrm>
        </p:spPr>
        <p:txBody>
          <a:bodyPr tIns="9144" anchor="t"/>
          <a:lstStyle>
            <a:lvl1pPr marL="5544" algn="ctr">
              <a:lnSpc>
                <a:spcPct val="100000"/>
              </a:lnSpc>
              <a:defRPr sz="10974" kern="1200" spc="-6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%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CB87E6-F251-A049-9C59-BD3496C355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79661" y="4147272"/>
            <a:ext cx="3377914" cy="1684531"/>
          </a:xfrm>
        </p:spPr>
        <p:txBody>
          <a:bodyPr tIns="9144" anchor="t">
            <a:noAutofit/>
          </a:bodyPr>
          <a:lstStyle>
            <a:lvl1pPr marL="5544">
              <a:lnSpc>
                <a:spcPts val="6051"/>
              </a:lnSpc>
              <a:defRPr sz="600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ighlight phras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975924-3337-DC45-A059-6916F5829F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6900" y="1114530"/>
            <a:ext cx="1554403" cy="315726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E563CE52-0B2A-FC45-9BA3-B228D53434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5475" y="3676289"/>
            <a:ext cx="1557283" cy="315726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6" name="Text Placeholder 3">
            <a:extLst>
              <a:ext uri="{FF2B5EF4-FFF2-40B4-BE49-F238E27FC236}">
                <a16:creationId xmlns:a16="http://schemas.microsoft.com/office/drawing/2014/main" id="{23B0CCAE-3E3E-524A-9978-45E0360424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79661" y="1114531"/>
            <a:ext cx="1529955" cy="315726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7" name="Text Placeholder 3">
            <a:extLst>
              <a:ext uri="{FF2B5EF4-FFF2-40B4-BE49-F238E27FC236}">
                <a16:creationId xmlns:a16="http://schemas.microsoft.com/office/drawing/2014/main" id="{991E0909-7CF2-C847-9F00-BEB6C298BE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9661" y="3676289"/>
            <a:ext cx="1529955" cy="315726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51CE83B5-6886-844E-8EFD-166FD9A10C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82760" y="3676289"/>
            <a:ext cx="1554563" cy="315726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99160EDD-353C-D041-809C-866103654C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82760" y="1114532"/>
            <a:ext cx="1554563" cy="315725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AB40A94C-1AD3-ED46-BF7B-8D97FF59728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21" name="Holder 6">
            <a:extLst>
              <a:ext uri="{FF2B5EF4-FFF2-40B4-BE49-F238E27FC236}">
                <a16:creationId xmlns:a16="http://schemas.microsoft.com/office/drawing/2014/main" id="{793E7CA8-1AFA-2047-94FE-E8ADCA55773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1C64CB8-A19B-BF4A-B330-559305A4F7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09331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1">
          <p15:clr>
            <a:srgbClr val="FBAE40"/>
          </p15:clr>
        </p15:guide>
        <p15:guide id="4" orient="horz" pos="6301">
          <p15:clr>
            <a:srgbClr val="FBAE40"/>
          </p15:clr>
        </p15:guide>
        <p15:guide id="12" orient="horz" pos="3648">
          <p15:clr>
            <a:srgbClr val="FBAE40"/>
          </p15:clr>
        </p15:guide>
        <p15:guide id="13" orient="horz" pos="6538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 AES Internal [Char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1439" y="975908"/>
            <a:ext cx="3690219" cy="1026498"/>
          </a:xfrm>
        </p:spPr>
        <p:txBody>
          <a:bodyPr>
            <a:normAutofit/>
          </a:bodyPr>
          <a:lstStyle>
            <a:lvl1pPr>
              <a:lnSpc>
                <a:spcPts val="4002"/>
              </a:lnSpc>
              <a:spcBef>
                <a:spcPts val="0"/>
              </a:spcBef>
              <a:defRPr sz="4244" kern="1200" spc="-6" baseline="0"/>
            </a:lvl1pPr>
          </a:lstStyle>
          <a:p>
            <a:r>
              <a:rPr lang="en-US"/>
              <a:t>Pag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4" name="Picture 13" descr="A picture containing wheel&#10;&#10;Description automatically generated">
            <a:extLst>
              <a:ext uri="{FF2B5EF4-FFF2-40B4-BE49-F238E27FC236}">
                <a16:creationId xmlns:a16="http://schemas.microsoft.com/office/drawing/2014/main" id="{FA964E1C-29FE-CC47-AD3A-9F6F12CBCB7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014ADE9-D192-B443-A631-7EE356D847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237225"/>
            <a:ext cx="3680647" cy="404518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Holder 6">
            <a:extLst>
              <a:ext uri="{FF2B5EF4-FFF2-40B4-BE49-F238E27FC236}">
                <a16:creationId xmlns:a16="http://schemas.microsoft.com/office/drawing/2014/main" id="{9123438D-25A5-E341-B9D0-74EE24D5DA5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1097475-D7CE-E946-B865-DEE1391C1B2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88149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1">
          <p15:clr>
            <a:srgbClr val="FBAE40"/>
          </p15:clr>
        </p15:guide>
        <p15:guide id="4" orient="horz" pos="6519">
          <p15:clr>
            <a:srgbClr val="FBAE40"/>
          </p15:clr>
        </p15:guide>
        <p15:guide id="13" orient="horz" pos="2314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6" orient="horz" pos="5786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ES Blank [Titl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2" name="Picture 11" descr="A picture containing wheel&#10;&#10;Description automatically generated">
            <a:extLst>
              <a:ext uri="{FF2B5EF4-FFF2-40B4-BE49-F238E27FC236}">
                <a16:creationId xmlns:a16="http://schemas.microsoft.com/office/drawing/2014/main" id="{67A925F8-EBE1-4249-9A7E-7FDA35B61A6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8" name="Holder 6">
            <a:extLst>
              <a:ext uri="{FF2B5EF4-FFF2-40B4-BE49-F238E27FC236}">
                <a16:creationId xmlns:a16="http://schemas.microsoft.com/office/drawing/2014/main" id="{81AC0B4F-7AC3-D943-B8AE-E303B1AE318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C64D398-A79C-3046-976A-2D14BB72387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9679845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1">
          <p15:clr>
            <a:srgbClr val="FBAE40"/>
          </p15:clr>
        </p15:guide>
        <p15:guide id="4" orient="horz" pos="6519">
          <p15:clr>
            <a:srgbClr val="FBAE40"/>
          </p15:clr>
        </p15:guide>
        <p15:guide id="6" pos="12284">
          <p15:clr>
            <a:srgbClr val="FBAE40"/>
          </p15:clr>
        </p15:guide>
        <p15:guide id="8" pos="380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5" orient="horz" pos="298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ES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wheel&#10;&#10;Description automatically generated">
            <a:extLst>
              <a:ext uri="{FF2B5EF4-FFF2-40B4-BE49-F238E27FC236}">
                <a16:creationId xmlns:a16="http://schemas.microsoft.com/office/drawing/2014/main" id="{1C0F1BE0-4A07-B049-8D29-D7C34331BCC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6" name="Holder 6">
            <a:extLst>
              <a:ext uri="{FF2B5EF4-FFF2-40B4-BE49-F238E27FC236}">
                <a16:creationId xmlns:a16="http://schemas.microsoft.com/office/drawing/2014/main" id="{7F736837-DE79-BC4B-90D8-BD4D8AC3695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673D6CF-4FA7-3346-8EC0-4EF729DD6F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1490710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6" pos="12284">
          <p15:clr>
            <a:srgbClr val="FBAE40"/>
          </p15:clr>
        </p15:guide>
        <p15:guide id="12" orient="horz" pos="2986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ES Blank [Gray]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wheel&#10;&#10;Description automatically generated">
            <a:extLst>
              <a:ext uri="{FF2B5EF4-FFF2-40B4-BE49-F238E27FC236}">
                <a16:creationId xmlns:a16="http://schemas.microsoft.com/office/drawing/2014/main" id="{1C0F1BE0-4A07-B049-8D29-D7C34331BCC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6" name="Holder 6">
            <a:extLst>
              <a:ext uri="{FF2B5EF4-FFF2-40B4-BE49-F238E27FC236}">
                <a16:creationId xmlns:a16="http://schemas.microsoft.com/office/drawing/2014/main" id="{7F736837-DE79-BC4B-90D8-BD4D8AC3695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673D6CF-4FA7-3346-8EC0-4EF729DD6F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81119190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6" pos="12284">
          <p15:clr>
            <a:srgbClr val="FBAE40"/>
          </p15:clr>
        </p15:guide>
        <p15:guide id="12" orient="horz" pos="2986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0 AES Internal [3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1950352"/>
            <a:ext cx="3690219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6454" y="1950352"/>
            <a:ext cx="3695917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32864" y="1950352"/>
            <a:ext cx="3690219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C1BE46A8-5E78-D540-B7A4-A3ABB3FA14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1385658-B7C9-D440-949B-D94D13F175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739196"/>
            <a:ext cx="3690219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AEE4267-A41A-5140-83CE-41FEC571290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39447" y="2739196"/>
            <a:ext cx="3695917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62572B3-F251-1D45-8BFA-4003EE28528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8850" y="2739196"/>
            <a:ext cx="3690220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9" name="Picture 18" descr="Logo&#10;&#10;Description automatically generated">
            <a:extLst>
              <a:ext uri="{FF2B5EF4-FFF2-40B4-BE49-F238E27FC236}">
                <a16:creationId xmlns:a16="http://schemas.microsoft.com/office/drawing/2014/main" id="{E3FDC1D7-6003-4BEE-9F02-8FE1CB002B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92" y="6278817"/>
            <a:ext cx="968253" cy="23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6074799"/>
      </p:ext>
    </p:extLst>
  </p:cSld>
  <p:clrMapOvr>
    <a:masterClrMapping/>
  </p:clrMapOvr>
  <p:transition>
    <p:wipe/>
  </p:transition>
  <p:extLst>
    <p:ext uri="{DCECCB84-F9BA-43D5-87BE-67443E8EF086}">
      <p15:sldGuideLst xmlns:p15="http://schemas.microsoft.com/office/powerpoint/2012/main">
        <p15:guide id="4" orient="horz" pos="6519">
          <p15:clr>
            <a:srgbClr val="FBAE40"/>
          </p15:clr>
        </p15:guide>
        <p15:guide id="12" orient="horz" pos="2026">
          <p15:clr>
            <a:srgbClr val="FBAE40"/>
          </p15:clr>
        </p15:guide>
        <p15:guide id="13" orient="horz" pos="2842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7" orient="horz" pos="643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EA57179-286D-9A49-B903-36471AE34F6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39" y="5417397"/>
            <a:ext cx="11451644" cy="120767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40" y="379289"/>
            <a:ext cx="11445946" cy="513248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5544">
              <a:lnSpc>
                <a:spcPts val="19996"/>
              </a:lnSpc>
              <a:spcBef>
                <a:spcPts val="4059"/>
              </a:spcBef>
              <a:defRPr sz="19978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Large </a:t>
            </a:r>
            <a:br>
              <a:rPr lang="en-US"/>
            </a:br>
            <a:r>
              <a:rPr lang="en-US"/>
              <a:t>title</a:t>
            </a:r>
            <a:endParaRPr/>
          </a:p>
        </p:txBody>
      </p:sp>
      <p:pic>
        <p:nvPicPr>
          <p:cNvPr id="4" name="Picture 3" descr="A picture containing wheel&#10;&#10;Description automatically generated">
            <a:extLst>
              <a:ext uri="{FF2B5EF4-FFF2-40B4-BE49-F238E27FC236}">
                <a16:creationId xmlns:a16="http://schemas.microsoft.com/office/drawing/2014/main" id="{FFEF52C9-3B92-2747-AAA3-60EC8621094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064" y="5883835"/>
            <a:ext cx="1546741" cy="60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8526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2248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3872457"/>
      </p:ext>
    </p:extLst>
  </p:cSld>
  <p:clrMapOvr>
    <a:masterClrMapping/>
  </p:clrMapOvr>
  <p:hf hdr="0" ftr="0" dt="0"/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EA57179-286D-9A49-B903-36471AE34F6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39" y="5417397"/>
            <a:ext cx="11451644" cy="120767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40" y="517912"/>
            <a:ext cx="11445946" cy="513248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5544">
              <a:lnSpc>
                <a:spcPts val="10004"/>
              </a:lnSpc>
              <a:spcBef>
                <a:spcPts val="4059"/>
              </a:spcBef>
              <a:defRPr sz="10004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Medium </a:t>
            </a:r>
            <a:br>
              <a:rPr lang="en-US"/>
            </a:br>
            <a:r>
              <a:rPr lang="en-US"/>
              <a:t>title</a:t>
            </a:r>
            <a:endParaRPr/>
          </a:p>
        </p:txBody>
      </p:sp>
      <p:pic>
        <p:nvPicPr>
          <p:cNvPr id="4" name="Picture 3" descr="A picture containing wheel&#10;&#10;Description automatically generated">
            <a:extLst>
              <a:ext uri="{FF2B5EF4-FFF2-40B4-BE49-F238E27FC236}">
                <a16:creationId xmlns:a16="http://schemas.microsoft.com/office/drawing/2014/main" id="{FFEF52C9-3B92-2747-AAA3-60EC8621094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064" y="5883835"/>
            <a:ext cx="1546741" cy="60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923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</p15:sldGuideLst>
    </p:ext>
  </p:extLs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7D77FE0C-2B42-7E49-890F-6743794687E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27166" y="382600"/>
            <a:ext cx="2700715" cy="1497131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2EE2625-BEEF-7E46-B852-B0D6DBFE5A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36074" y="1990630"/>
            <a:ext cx="4845347" cy="447475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181802" y="5345312"/>
            <a:ext cx="2516129" cy="382604"/>
          </a:xfrm>
        </p:spPr>
        <p:txBody>
          <a:bodyPr tIns="0">
            <a:noAutofit/>
          </a:bodyPr>
          <a:lstStyle>
            <a:lvl1pPr marL="0">
              <a:spcBef>
                <a:spcPts val="364"/>
              </a:spcBef>
              <a:defRPr sz="1940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latin typeface="Arial" charset="0"/>
                <a:ea typeface="Arial" charset="0"/>
                <a:cs typeface="Arial" charset="0"/>
              </a:defRPr>
            </a:lvl2pPr>
            <a:lvl3pPr>
              <a:defRPr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Introductory statemen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49023" y="701527"/>
            <a:ext cx="2633341" cy="648124"/>
          </a:xfrm>
        </p:spPr>
        <p:txBody>
          <a:bodyPr tIns="0">
            <a:noAutofit/>
          </a:bodyPr>
          <a:lstStyle>
            <a:lvl1pPr marL="0">
              <a:spcBef>
                <a:spcPts val="0"/>
              </a:spcBef>
              <a:defRPr sz="1940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latin typeface="Arial" charset="0"/>
                <a:ea typeface="Arial" charset="0"/>
                <a:cs typeface="Arial" charset="0"/>
              </a:defRPr>
            </a:lvl2pPr>
            <a:lvl3pPr>
              <a:defRPr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Date</a:t>
            </a:r>
          </a:p>
          <a:p>
            <a:pPr lvl="0"/>
            <a:r>
              <a:rPr lang="en-US"/>
              <a:t>Subhead</a:t>
            </a: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7151599" y="2809798"/>
            <a:ext cx="3572329" cy="196901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7700" marR="3080">
              <a:lnSpc>
                <a:spcPts val="4996"/>
              </a:lnSpc>
              <a:spcBef>
                <a:spcPts val="1061"/>
              </a:spcBef>
              <a:defRPr sz="5002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 marR="5080">
              <a:lnSpc>
                <a:spcPts val="8240"/>
              </a:lnSpc>
              <a:spcBef>
                <a:spcPts val="1750"/>
              </a:spcBef>
            </a:pPr>
            <a:r>
              <a:rPr lang="en-US" sz="5002" spc="-6">
                <a:solidFill>
                  <a:srgbClr val="010202"/>
                </a:solidFill>
                <a:latin typeface="Arial"/>
                <a:cs typeface="Arial"/>
              </a:rPr>
              <a:t>Presentation Title</a:t>
            </a:r>
            <a:endParaRPr lang="en-US" sz="5002">
              <a:latin typeface="Arial"/>
              <a:cs typeface="Arial"/>
            </a:endParaRPr>
          </a:p>
        </p:txBody>
      </p:sp>
      <p:sp>
        <p:nvSpPr>
          <p:cNvPr id="9" name="Holder 6">
            <a:extLst>
              <a:ext uri="{FF2B5EF4-FFF2-40B4-BE49-F238E27FC236}">
                <a16:creationId xmlns:a16="http://schemas.microsoft.com/office/drawing/2014/main" id="{5A099B78-E026-A84A-A699-B48505E5F37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650991" y="382600"/>
            <a:ext cx="172092" cy="933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60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9096D72-14E6-8047-8A10-918A2F0D0B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40" y="1874186"/>
            <a:ext cx="11481365" cy="121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41062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  <p15:guide id="9" pos="6428">
          <p15:clr>
            <a:srgbClr val="FBAE40"/>
          </p15:clr>
        </p15:guide>
        <p15:guide id="10" pos="8444">
          <p15:clr>
            <a:srgbClr val="FBAE40"/>
          </p15:clr>
        </p15:guide>
        <p15:guide id="12" orient="horz" pos="2938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93E22AF4-9ECA-6848-B9C1-E3B07771CE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57760" y="931548"/>
            <a:ext cx="3682041" cy="257839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320D3A8-6E16-594B-9E2B-8C22FF2D0D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626384"/>
            <a:ext cx="7157760" cy="32326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341618" y="869073"/>
            <a:ext cx="3686677" cy="196901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7700" marR="3080">
              <a:lnSpc>
                <a:spcPts val="4996"/>
              </a:lnSpc>
              <a:spcBef>
                <a:spcPts val="1061"/>
              </a:spcBef>
              <a:defRPr sz="5002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 marR="5080">
              <a:lnSpc>
                <a:spcPts val="8240"/>
              </a:lnSpc>
              <a:spcBef>
                <a:spcPts val="1750"/>
              </a:spcBef>
            </a:pPr>
            <a:r>
              <a:rPr lang="en-US" sz="5002" spc="-3"/>
              <a:t>Title with </a:t>
            </a:r>
            <a:r>
              <a:rPr lang="en-US" sz="5002" spc="-6">
                <a:solidFill>
                  <a:srgbClr val="1DA84A"/>
                </a:solidFill>
              </a:rPr>
              <a:t>green and </a:t>
            </a:r>
            <a:br>
              <a:rPr lang="en-US" sz="5002" spc="-6">
                <a:solidFill>
                  <a:srgbClr val="1DA84A"/>
                </a:solidFill>
              </a:rPr>
            </a:br>
            <a:r>
              <a:rPr lang="en-US" sz="5002" spc="-3"/>
              <a:t>black text</a:t>
            </a:r>
            <a:endParaRPr lang="en-US" sz="5002">
              <a:latin typeface="Arial"/>
              <a:cs typeface="Arial"/>
            </a:endParaRPr>
          </a:p>
        </p:txBody>
      </p:sp>
      <p:pic>
        <p:nvPicPr>
          <p:cNvPr id="20" name="Picture 19" descr="A picture containing wheel&#10;&#10;Description automatically generated">
            <a:extLst>
              <a:ext uri="{FF2B5EF4-FFF2-40B4-BE49-F238E27FC236}">
                <a16:creationId xmlns:a16="http://schemas.microsoft.com/office/drawing/2014/main" id="{41653854-ECE0-3B41-B714-2E91B5CE645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064" y="5883835"/>
            <a:ext cx="1546741" cy="6034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531BB61-330E-8141-9C04-2EA05B2DA452}"/>
              </a:ext>
            </a:extLst>
          </p:cNvPr>
          <p:cNvSpPr/>
          <p:nvPr/>
        </p:nvSpPr>
        <p:spPr>
          <a:xfrm>
            <a:off x="371439" y="3509941"/>
            <a:ext cx="11451644" cy="116705"/>
          </a:xfrm>
          <a:prstGeom prst="rect">
            <a:avLst/>
          </a:prstGeom>
          <a:gradFill flip="none" rotWithShape="1">
            <a:gsLst>
              <a:gs pos="100000">
                <a:srgbClr val="3250FC"/>
              </a:gs>
              <a:gs pos="70000">
                <a:srgbClr val="9E70FF"/>
              </a:gs>
              <a:gs pos="34000">
                <a:srgbClr val="2ACEEB"/>
              </a:gs>
              <a:gs pos="0">
                <a:srgbClr val="2CBF38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1"/>
          </a:p>
        </p:txBody>
      </p:sp>
      <p:sp>
        <p:nvSpPr>
          <p:cNvPr id="14" name="Holder 6">
            <a:extLst>
              <a:ext uri="{FF2B5EF4-FFF2-40B4-BE49-F238E27FC236}">
                <a16:creationId xmlns:a16="http://schemas.microsoft.com/office/drawing/2014/main" id="{FE7A3AB4-2A5A-BD48-90EC-6D3AFC0757F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650991" y="382600"/>
            <a:ext cx="172092" cy="933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60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5462B46-67AA-6E44-83EF-0BD607BA3A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166" y="4431179"/>
            <a:ext cx="2633341" cy="648124"/>
          </a:xfrm>
        </p:spPr>
        <p:txBody>
          <a:bodyPr tIns="0">
            <a:noAutofit/>
          </a:bodyPr>
          <a:lstStyle>
            <a:lvl1pPr marL="0">
              <a:spcBef>
                <a:spcPts val="0"/>
              </a:spcBef>
              <a:defRPr sz="1940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latin typeface="Arial" charset="0"/>
                <a:ea typeface="Arial" charset="0"/>
                <a:cs typeface="Arial" charset="0"/>
              </a:defRPr>
            </a:lvl2pPr>
            <a:lvl3pPr>
              <a:defRPr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Subhead</a:t>
            </a:r>
          </a:p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56972382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  <p15:guide id="9" pos="6428">
          <p15:clr>
            <a:srgbClr val="FBAE40"/>
          </p15:clr>
        </p15:guide>
        <p15:guide id="10" pos="8444">
          <p15:clr>
            <a:srgbClr val="FBAE40"/>
          </p15:clr>
        </p15:guide>
        <p15:guide id="12" orient="horz" pos="2938">
          <p15:clr>
            <a:srgbClr val="FBAE40"/>
          </p15:clr>
        </p15:guide>
      </p15:sldGuideLst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C637C7C-BEE7-064C-9851-9802BDCB89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61944" y="3163391"/>
            <a:ext cx="3690961" cy="248358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94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94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94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7161944" y="1685659"/>
            <a:ext cx="3690961" cy="19862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700" marR="3080">
              <a:lnSpc>
                <a:spcPts val="4996"/>
              </a:lnSpc>
              <a:spcBef>
                <a:spcPts val="1061"/>
              </a:spcBef>
              <a:defRPr sz="5002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 marR="5080">
              <a:lnSpc>
                <a:spcPts val="8240"/>
              </a:lnSpc>
              <a:spcBef>
                <a:spcPts val="1750"/>
              </a:spcBef>
            </a:pPr>
            <a:r>
              <a:rPr lang="en-US" sz="5002" spc="-3"/>
              <a:t>Presentation Title</a:t>
            </a:r>
            <a:endParaRPr lang="en-US" sz="5002">
              <a:latin typeface="Arial"/>
              <a:cs typeface="Arial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3EE9359-C4CF-F045-9C60-D5C9638414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71510"/>
            <a:ext cx="6186810" cy="609179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2" name="Picture 21" descr="A picture containing wheel&#10;&#10;Description automatically generated">
            <a:extLst>
              <a:ext uri="{FF2B5EF4-FFF2-40B4-BE49-F238E27FC236}">
                <a16:creationId xmlns:a16="http://schemas.microsoft.com/office/drawing/2014/main" id="{ED0E0FFB-0640-CA4F-9B26-C32580330BF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064" y="5883835"/>
            <a:ext cx="1546741" cy="603408"/>
          </a:xfrm>
          <a:prstGeom prst="rect">
            <a:avLst/>
          </a:prstGeom>
        </p:spPr>
      </p:pic>
      <p:sp>
        <p:nvSpPr>
          <p:cNvPr id="11" name="Holder 6">
            <a:extLst>
              <a:ext uri="{FF2B5EF4-FFF2-40B4-BE49-F238E27FC236}">
                <a16:creationId xmlns:a16="http://schemas.microsoft.com/office/drawing/2014/main" id="{64A510D6-7281-A34D-9D20-1FEC25FDE74C}"/>
              </a:ext>
            </a:extLst>
          </p:cNvPr>
          <p:cNvSpPr txBox="1">
            <a:spLocks/>
          </p:cNvSpPr>
          <p:nvPr/>
        </p:nvSpPr>
        <p:spPr>
          <a:xfrm>
            <a:off x="11650991" y="382601"/>
            <a:ext cx="172092" cy="932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F15528-21DE-4FAA-801E-634DDDAF4B2B}" type="slidenum">
              <a:rPr lang="en-US" sz="606" smtClean="0"/>
              <a:pPr/>
              <a:t>‹Nº›</a:t>
            </a:fld>
            <a:endParaRPr lang="en-US" sz="606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B4C659-EB9F-A840-A6AD-B59A4B50F9C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56989" y="919342"/>
            <a:ext cx="583262" cy="58337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029783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  <p15:guide id="12" orient="horz" pos="2938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AES Section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wheel&#10;&#10;Description automatically generated">
            <a:extLst>
              <a:ext uri="{FF2B5EF4-FFF2-40B4-BE49-F238E27FC236}">
                <a16:creationId xmlns:a16="http://schemas.microsoft.com/office/drawing/2014/main" id="{6D06CDE7-47E0-244C-8AA6-E3B37A29AB6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71439" y="2062714"/>
            <a:ext cx="11448102" cy="4124655"/>
          </a:xfrm>
        </p:spPr>
        <p:txBody>
          <a:bodyPr tIns="0"/>
          <a:lstStyle>
            <a:lvl1pPr marL="7700" marR="3080">
              <a:lnSpc>
                <a:spcPts val="5226"/>
              </a:lnSpc>
              <a:spcBef>
                <a:spcPts val="628"/>
              </a:spcBef>
              <a:defRPr sz="4729" kern="1200" spc="-6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12700" marR="5080">
              <a:lnSpc>
                <a:spcPts val="8620"/>
              </a:lnSpc>
              <a:spcBef>
                <a:spcPts val="1035"/>
              </a:spcBef>
            </a:pPr>
            <a:r>
              <a:rPr lang="en-US" sz="4729">
                <a:latin typeface="Arial"/>
                <a:cs typeface="Arial"/>
              </a:rPr>
              <a:t>Overview statement</a:t>
            </a: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39" y="421415"/>
            <a:ext cx="10481466" cy="146027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700" marR="3080">
              <a:lnSpc>
                <a:spcPct val="100000"/>
              </a:lnSpc>
              <a:spcBef>
                <a:spcPts val="69"/>
              </a:spcBef>
              <a:defRPr sz="9489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114"/>
              </a:spcBef>
            </a:pPr>
            <a:r>
              <a:rPr lang="en-US" kern="0"/>
              <a:t>Section Title</a:t>
            </a:r>
          </a:p>
        </p:txBody>
      </p:sp>
      <p:sp>
        <p:nvSpPr>
          <p:cNvPr id="23" name="object 7"/>
          <p:cNvSpPr/>
          <p:nvPr/>
        </p:nvSpPr>
        <p:spPr>
          <a:xfrm>
            <a:off x="11456251" y="6390566"/>
            <a:ext cx="36189" cy="0"/>
          </a:xfrm>
          <a:custGeom>
            <a:avLst/>
            <a:gdLst/>
            <a:ahLst/>
            <a:cxnLst/>
            <a:rect l="l" t="t" r="r" b="b"/>
            <a:pathLst>
              <a:path w="59690">
                <a:moveTo>
                  <a:pt x="59537" y="0"/>
                </a:moveTo>
                <a:lnTo>
                  <a:pt x="0" y="0"/>
                </a:lnTo>
                <a:lnTo>
                  <a:pt x="59537" y="0"/>
                </a:lnTo>
                <a:close/>
              </a:path>
            </a:pathLst>
          </a:custGeom>
          <a:solidFill>
            <a:srgbClr val="8471B3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24" name="object 8"/>
          <p:cNvSpPr/>
          <p:nvPr/>
        </p:nvSpPr>
        <p:spPr>
          <a:xfrm>
            <a:off x="11456251" y="6390566"/>
            <a:ext cx="36189" cy="0"/>
          </a:xfrm>
          <a:custGeom>
            <a:avLst/>
            <a:gdLst/>
            <a:ahLst/>
            <a:cxnLst/>
            <a:rect l="l" t="t" r="r" b="b"/>
            <a:pathLst>
              <a:path w="59690">
                <a:moveTo>
                  <a:pt x="59537" y="0"/>
                </a:moveTo>
                <a:lnTo>
                  <a:pt x="0" y="0"/>
                </a:lnTo>
                <a:lnTo>
                  <a:pt x="59537" y="0"/>
                </a:lnTo>
                <a:close/>
              </a:path>
            </a:pathLst>
          </a:custGeom>
          <a:solidFill>
            <a:srgbClr val="8471B3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2758F6-7CDC-ED49-B135-67289B7D24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2" name="Holder 6">
            <a:extLst>
              <a:ext uri="{FF2B5EF4-FFF2-40B4-BE49-F238E27FC236}">
                <a16:creationId xmlns:a16="http://schemas.microsoft.com/office/drawing/2014/main" id="{BA296ADF-0C87-FC4F-855E-11AE685E82F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0587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12" orient="horz" pos="2125">
          <p15:clr>
            <a:srgbClr val="FBAE40"/>
          </p15:clr>
        </p15:guide>
      </p15:sldGuideLst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AES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39" y="576673"/>
            <a:ext cx="10481466" cy="72776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700" marR="3080">
              <a:lnSpc>
                <a:spcPct val="100000"/>
              </a:lnSpc>
              <a:spcBef>
                <a:spcPts val="69"/>
              </a:spcBef>
              <a:defRPr sz="4729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114"/>
              </a:spcBef>
            </a:pPr>
            <a:r>
              <a:rPr lang="en-US" kern="0" spc="-3"/>
              <a:t>Section</a:t>
            </a:r>
            <a:r>
              <a:rPr lang="en-US" kern="0" spc="-33"/>
              <a:t> </a:t>
            </a:r>
            <a:r>
              <a:rPr lang="en-US" kern="0"/>
              <a:t>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1439" y="1678462"/>
            <a:ext cx="11451644" cy="3886694"/>
          </a:xfrm>
        </p:spPr>
        <p:txBody>
          <a:bodyPr tIns="365760"/>
          <a:lstStyle>
            <a:lvl1pPr marL="5544" marR="0" indent="0" defTabSz="554401" eaLnBrk="1" fontAlgn="auto" latinLnBrk="0" hangingPunct="1">
              <a:lnSpc>
                <a:spcPts val="9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489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 sz="9489">
                <a:latin typeface="Arial" charset="0"/>
                <a:ea typeface="Arial" charset="0"/>
                <a:cs typeface="Arial" charset="0"/>
              </a:defRPr>
            </a:lvl2pPr>
            <a:lvl3pPr>
              <a:defRPr sz="9489">
                <a:latin typeface="Arial" charset="0"/>
                <a:ea typeface="Arial" charset="0"/>
                <a:cs typeface="Arial" charset="0"/>
              </a:defRPr>
            </a:lvl3pPr>
            <a:lvl4pPr>
              <a:defRPr sz="9489">
                <a:latin typeface="Arial" charset="0"/>
                <a:ea typeface="Arial" charset="0"/>
                <a:cs typeface="Arial" charset="0"/>
              </a:defRPr>
            </a:lvl4pPr>
            <a:lvl5pPr>
              <a:defRPr sz="9489">
                <a:latin typeface="Arial" charset="0"/>
                <a:ea typeface="Arial" charset="0"/>
                <a:cs typeface="Arial" charset="0"/>
              </a:defRPr>
            </a:lvl5pPr>
          </a:lstStyle>
          <a:p>
            <a:pPr marL="0" marR="0" lvl="0" indent="0" defTabSz="554401" eaLnBrk="1" fontAlgn="auto" latinLnBrk="0" hangingPunct="1">
              <a:lnSpc>
                <a:spcPts val="9500"/>
              </a:lnSpc>
              <a:spcBef>
                <a:spcPts val="19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489" spc="-24">
                <a:solidFill>
                  <a:srgbClr val="010202"/>
                </a:solidFill>
                <a:latin typeface="Arial"/>
                <a:cs typeface="Arial"/>
              </a:rPr>
              <a:t>Overview statement</a:t>
            </a:r>
            <a:endParaRPr lang="en-US" sz="9489">
              <a:latin typeface="Arial"/>
              <a:cs typeface="Arial"/>
            </a:endParaRPr>
          </a:p>
        </p:txBody>
      </p:sp>
      <p:pic>
        <p:nvPicPr>
          <p:cNvPr id="15" name="Picture 14" descr="A picture containing wheel&#10;&#10;Description automatically generated">
            <a:extLst>
              <a:ext uri="{FF2B5EF4-FFF2-40B4-BE49-F238E27FC236}">
                <a16:creationId xmlns:a16="http://schemas.microsoft.com/office/drawing/2014/main" id="{0FDCDEAA-5702-DA4A-B940-CFB90503E4F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B97702A-63B0-BD47-8A38-B17413BB265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40" y="1502676"/>
            <a:ext cx="11425926" cy="120496"/>
          </a:xfrm>
          <a:prstGeom prst="rect">
            <a:avLst/>
          </a:prstGeom>
        </p:spPr>
      </p:pic>
      <p:sp>
        <p:nvSpPr>
          <p:cNvPr id="9" name="Holder 6">
            <a:extLst>
              <a:ext uri="{FF2B5EF4-FFF2-40B4-BE49-F238E27FC236}">
                <a16:creationId xmlns:a16="http://schemas.microsoft.com/office/drawing/2014/main" id="{CD501E8A-F006-3A41-9AEF-F30A4223718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9E90806-CF1D-1C44-A4E2-C638EF8186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2051800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12" orient="horz" pos="1738">
          <p15:clr>
            <a:srgbClr val="FBAE40"/>
          </p15:clr>
        </p15:guide>
      </p15:sldGuideLst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A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1439" y="425497"/>
            <a:ext cx="10481466" cy="5845280"/>
          </a:xfrm>
        </p:spPr>
        <p:txBody>
          <a:bodyPr tIns="411480">
            <a:normAutofit/>
          </a:bodyPr>
          <a:lstStyle>
            <a:lvl1pPr marL="7700" marR="3080" indent="1113036" defTabSz="554401" eaLnBrk="1" fontAlgn="auto" latinLnBrk="0" hangingPunct="1">
              <a:lnSpc>
                <a:spcPts val="9500"/>
              </a:lnSpc>
              <a:spcBef>
                <a:spcPts val="1958"/>
              </a:spcBef>
              <a:spcAft>
                <a:spcPts val="0"/>
              </a:spcAft>
              <a:buClrTx/>
              <a:buSzTx/>
              <a:buFontTx/>
              <a:buNone/>
              <a:tabLst/>
              <a:defRPr sz="9458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 sz="9489">
                <a:latin typeface="Arial" charset="0"/>
                <a:ea typeface="Arial" charset="0"/>
                <a:cs typeface="Arial" charset="0"/>
              </a:defRPr>
            </a:lvl2pPr>
            <a:lvl3pPr>
              <a:defRPr sz="9489">
                <a:latin typeface="Arial" charset="0"/>
                <a:ea typeface="Arial" charset="0"/>
                <a:cs typeface="Arial" charset="0"/>
              </a:defRPr>
            </a:lvl3pPr>
            <a:lvl4pPr>
              <a:defRPr sz="9489">
                <a:latin typeface="Arial" charset="0"/>
                <a:ea typeface="Arial" charset="0"/>
                <a:cs typeface="Arial" charset="0"/>
              </a:defRPr>
            </a:lvl4pPr>
            <a:lvl5pPr>
              <a:defRPr sz="9489">
                <a:latin typeface="Arial" charset="0"/>
                <a:ea typeface="Arial" charset="0"/>
                <a:cs typeface="Arial" charset="0"/>
              </a:defRPr>
            </a:lvl5pPr>
          </a:lstStyle>
          <a:p>
            <a:pPr marL="12700" marR="5080" indent="1835785">
              <a:lnSpc>
                <a:spcPts val="15669"/>
              </a:lnSpc>
              <a:spcBef>
                <a:spcPts val="3229"/>
              </a:spcBef>
            </a:pPr>
            <a:r>
              <a:rPr lang="en-US" sz="9489">
                <a:solidFill>
                  <a:srgbClr val="010202"/>
                </a:solidFill>
                <a:latin typeface="Arial"/>
                <a:cs typeface="Arial"/>
              </a:rPr>
              <a:t>Statement</a:t>
            </a:r>
            <a:endParaRPr lang="en-US" sz="9489">
              <a:latin typeface="Arial"/>
              <a:cs typeface="Arial"/>
            </a:endParaRPr>
          </a:p>
        </p:txBody>
      </p:sp>
      <p:sp>
        <p:nvSpPr>
          <p:cNvPr id="17" name="object 4"/>
          <p:cNvSpPr/>
          <p:nvPr/>
        </p:nvSpPr>
        <p:spPr>
          <a:xfrm>
            <a:off x="9406662" y="4617207"/>
            <a:ext cx="1277909" cy="642287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1"/>
          </a:p>
        </p:txBody>
      </p:sp>
      <p:pic>
        <p:nvPicPr>
          <p:cNvPr id="14" name="Picture 13" descr="A picture containing wheel&#10;&#10;Description automatically generated">
            <a:extLst>
              <a:ext uri="{FF2B5EF4-FFF2-40B4-BE49-F238E27FC236}">
                <a16:creationId xmlns:a16="http://schemas.microsoft.com/office/drawing/2014/main" id="{4F60CC4A-3204-0A4F-88C9-7347EA77FE1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E9DD4A45-1A06-F546-993C-EF0BD6378E4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42" y="765279"/>
            <a:ext cx="738791" cy="876099"/>
          </a:xfrm>
          <a:prstGeom prst="rect">
            <a:avLst/>
          </a:prstGeom>
        </p:spPr>
      </p:pic>
      <p:sp>
        <p:nvSpPr>
          <p:cNvPr id="9" name="Holder 6">
            <a:extLst>
              <a:ext uri="{FF2B5EF4-FFF2-40B4-BE49-F238E27FC236}">
                <a16:creationId xmlns:a16="http://schemas.microsoft.com/office/drawing/2014/main" id="{34FE868D-0380-B540-BB8F-223B6C8B6CA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1001D29-735C-FF4A-963A-07A38CAB1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744699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</p15:sldGuideLst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A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1439" y="425497"/>
            <a:ext cx="10481466" cy="5135600"/>
          </a:xfrm>
        </p:spPr>
        <p:txBody>
          <a:bodyPr tIns="411480">
            <a:normAutofit/>
          </a:bodyPr>
          <a:lstStyle>
            <a:lvl1pPr marL="7700" marR="3080" indent="0" defTabSz="554401" eaLnBrk="1" fontAlgn="auto" latinLnBrk="0" hangingPunct="1">
              <a:lnSpc>
                <a:spcPts val="9500"/>
              </a:lnSpc>
              <a:spcBef>
                <a:spcPts val="1958"/>
              </a:spcBef>
              <a:spcAft>
                <a:spcPts val="0"/>
              </a:spcAft>
              <a:buClrTx/>
              <a:buSzTx/>
              <a:buFontTx/>
              <a:buNone/>
              <a:tabLst/>
              <a:defRPr sz="9458" kern="1200" spc="-6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9489">
                <a:latin typeface="Arial" charset="0"/>
                <a:ea typeface="Arial" charset="0"/>
                <a:cs typeface="Arial" charset="0"/>
              </a:defRPr>
            </a:lvl2pPr>
            <a:lvl3pPr>
              <a:defRPr sz="9489">
                <a:latin typeface="Arial" charset="0"/>
                <a:ea typeface="Arial" charset="0"/>
                <a:cs typeface="Arial" charset="0"/>
              </a:defRPr>
            </a:lvl3pPr>
            <a:lvl4pPr>
              <a:defRPr sz="9489">
                <a:latin typeface="Arial" charset="0"/>
                <a:ea typeface="Arial" charset="0"/>
                <a:cs typeface="Arial" charset="0"/>
              </a:defRPr>
            </a:lvl4pPr>
            <a:lvl5pPr>
              <a:defRPr sz="9489">
                <a:latin typeface="Arial" charset="0"/>
                <a:ea typeface="Arial" charset="0"/>
                <a:cs typeface="Arial" charset="0"/>
              </a:defRPr>
            </a:lvl5pPr>
          </a:lstStyle>
          <a:p>
            <a:pPr marL="12700" marR="5080">
              <a:lnSpc>
                <a:spcPts val="15669"/>
              </a:lnSpc>
              <a:spcBef>
                <a:spcPts val="3229"/>
              </a:spcBef>
            </a:pPr>
            <a:r>
              <a:rPr lang="en-US" sz="9489">
                <a:latin typeface="Arial"/>
                <a:cs typeface="Arial"/>
              </a:rPr>
              <a:t>Statement</a:t>
            </a:r>
          </a:p>
          <a:p>
            <a:pPr marL="12700" marR="5080">
              <a:lnSpc>
                <a:spcPts val="15669"/>
              </a:lnSpc>
              <a:spcBef>
                <a:spcPts val="3229"/>
              </a:spcBef>
            </a:pPr>
            <a:endParaRPr lang="en-US" sz="9489">
              <a:latin typeface="Arial"/>
              <a:cs typeface="Arial"/>
            </a:endParaRPr>
          </a:p>
          <a:p>
            <a:pPr marL="12700" marR="5080">
              <a:lnSpc>
                <a:spcPts val="15669"/>
              </a:lnSpc>
              <a:spcBef>
                <a:spcPts val="3229"/>
              </a:spcBef>
            </a:pPr>
            <a:endParaRPr lang="en-US" sz="9489">
              <a:latin typeface="Arial"/>
              <a:cs typeface="Arial"/>
            </a:endParaRPr>
          </a:p>
        </p:txBody>
      </p:sp>
      <p:pic>
        <p:nvPicPr>
          <p:cNvPr id="12" name="Picture 11" descr="A picture containing wheel&#10;&#10;Description automatically generated">
            <a:extLst>
              <a:ext uri="{FF2B5EF4-FFF2-40B4-BE49-F238E27FC236}">
                <a16:creationId xmlns:a16="http://schemas.microsoft.com/office/drawing/2014/main" id="{64E6C3E9-4207-9249-B0F7-90978B29CE2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8" name="Holder 6">
            <a:extLst>
              <a:ext uri="{FF2B5EF4-FFF2-40B4-BE49-F238E27FC236}">
                <a16:creationId xmlns:a16="http://schemas.microsoft.com/office/drawing/2014/main" id="{C758FB5D-0EF0-7A41-882B-E8017C9071C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0BB4385-9AF5-6142-985D-5B8685801A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027798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11" pos="11276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ES Thank You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39" y="426960"/>
            <a:ext cx="10481466" cy="1473930"/>
          </a:xfrm>
          <a:prstGeom prst="rect">
            <a:avLst/>
          </a:prstGeom>
        </p:spPr>
        <p:txBody>
          <a:bodyPr wrap="square" lIns="0" tIns="18288" rIns="0" bIns="0" anchor="t">
            <a:spAutoFit/>
          </a:bodyPr>
          <a:lstStyle>
            <a:lvl1pPr marL="7700" marR="3080">
              <a:lnSpc>
                <a:spcPct val="100000"/>
              </a:lnSpc>
              <a:spcBef>
                <a:spcPts val="69"/>
              </a:spcBef>
              <a:defRPr sz="9458" b="0" i="0" kern="1200" spc="24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114"/>
              </a:spcBef>
            </a:pPr>
            <a:r>
              <a:rPr lang="en-US" kern="0" spc="-3"/>
              <a:t>Thank you.</a:t>
            </a:r>
            <a:endParaRPr lang="en-US" kern="0"/>
          </a:p>
        </p:txBody>
      </p:sp>
      <p:pic>
        <p:nvPicPr>
          <p:cNvPr id="12" name="Picture 11" descr="A picture containing wheel&#10;&#10;Description automatically generated">
            <a:extLst>
              <a:ext uri="{FF2B5EF4-FFF2-40B4-BE49-F238E27FC236}">
                <a16:creationId xmlns:a16="http://schemas.microsoft.com/office/drawing/2014/main" id="{C8D6DC13-9230-FA47-A8EE-8E45528B933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8" name="Holder 6">
            <a:extLst>
              <a:ext uri="{FF2B5EF4-FFF2-40B4-BE49-F238E27FC236}">
                <a16:creationId xmlns:a16="http://schemas.microsoft.com/office/drawing/2014/main" id="{A34F3BBE-0388-8142-88D9-F9D87E2EDD0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CD9889C-15D4-5E44-AAB7-FBA8FA1916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0852767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AES Internal [Agenda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1950352"/>
            <a:ext cx="3690219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C1BE46A8-5E78-D540-B7A4-A3ABB3FA147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1385658-B7C9-D440-949B-D94D13F175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739196"/>
            <a:ext cx="3690219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Holder 6">
            <a:extLst>
              <a:ext uri="{FF2B5EF4-FFF2-40B4-BE49-F238E27FC236}">
                <a16:creationId xmlns:a16="http://schemas.microsoft.com/office/drawing/2014/main" id="{097D15B3-42A8-6D4C-ABF7-5CA7BA9BCAE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59DAEC1-F79B-5447-9B9D-9E08CD7E64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C23C8094-582E-9C46-97B7-FD2260AABBB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16633" y="2735883"/>
            <a:ext cx="3690219" cy="3539707"/>
          </a:xfrm>
        </p:spPr>
        <p:txBody>
          <a:bodyPr/>
          <a:lstStyle>
            <a:lvl1pPr>
              <a:lnSpc>
                <a:spcPts val="2365"/>
              </a:lnSpc>
              <a:spcBef>
                <a:spcPts val="485"/>
              </a:spcBef>
              <a:spcAft>
                <a:spcPts val="485"/>
              </a:spcAft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1760" indent="-332640">
              <a:lnSpc>
                <a:spcPts val="2365"/>
              </a:lnSpc>
              <a:spcBef>
                <a:spcPts val="485"/>
              </a:spcBef>
              <a:spcAft>
                <a:spcPts val="485"/>
              </a:spcAft>
              <a:buFont typeface="+mj-lt"/>
              <a:buAutoNum type="arabicPeriod"/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7200" indent="-277200">
              <a:spcAft>
                <a:spcPts val="485"/>
              </a:spcAft>
              <a:buFont typeface="System Font Regular"/>
              <a:buChar char="→"/>
              <a:defRPr sz="1455"/>
            </a:lvl4pPr>
            <a:lvl5pPr marL="0">
              <a:spcAft>
                <a:spcPts val="485"/>
              </a:spcAft>
              <a:defRPr sz="1455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717703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519">
          <p15:clr>
            <a:srgbClr val="FBAE40"/>
          </p15:clr>
        </p15:guide>
        <p15:guide id="12" orient="horz" pos="2026">
          <p15:clr>
            <a:srgbClr val="FBAE40"/>
          </p15:clr>
        </p15:guide>
        <p15:guide id="13" orient="horz" pos="2842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7" orient="horz" pos="643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9093BE-702C-4DC2-A2EC-E7426E5F055B}" type="datetimeFigureOut">
              <a:rPr lang="es-ES" smtClean="0"/>
              <a:t>04/07/2023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F0D43-DC6A-43E7-8B70-5BA0F6C8383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283796134"/>
      </p:ext>
    </p:extLst>
  </p:cSld>
  <p:clrMapOvr>
    <a:masterClrMapping/>
  </p:clrMapOvr>
  <p:hf hdr="0" ftr="0" dt="0"/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FFB57AF-F198-8649-8163-E57B45CDF9C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16632" y="381214"/>
            <a:ext cx="6972193" cy="554300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15" name="Picture 14" descr="A picture containing wheel&#10;&#10;Description automatically generated">
            <a:extLst>
              <a:ext uri="{FF2B5EF4-FFF2-40B4-BE49-F238E27FC236}">
                <a16:creationId xmlns:a16="http://schemas.microsoft.com/office/drawing/2014/main" id="{893DFAB9-DC3C-F749-AB19-2C8D1522CC0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F57EE5C5-7F1A-BA4B-A336-879F28A704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39" y="975908"/>
            <a:ext cx="3690219" cy="1026498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spcBef>
                <a:spcPts val="858"/>
              </a:spcBef>
              <a:defRPr sz="4244" kern="1200" spc="-6" baseline="0"/>
            </a:lvl1pPr>
          </a:lstStyle>
          <a:p>
            <a:r>
              <a:rPr lang="en-US"/>
              <a:t>Page 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EDCA175-78DC-024C-B777-F738F319FF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237225"/>
            <a:ext cx="3680647" cy="365811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Holder 6">
            <a:extLst>
              <a:ext uri="{FF2B5EF4-FFF2-40B4-BE49-F238E27FC236}">
                <a16:creationId xmlns:a16="http://schemas.microsoft.com/office/drawing/2014/main" id="{68105A6C-8942-264B-A101-3CC7EE365C4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1F28457-D9B6-0447-87CB-810932507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9428555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4">
          <p15:clr>
            <a:srgbClr val="FBAE40"/>
          </p15:clr>
        </p15:guide>
        <p15:guide id="12" orient="horz" pos="6154">
          <p15:clr>
            <a:srgbClr val="FBAE40"/>
          </p15:clr>
        </p15:guide>
        <p15:guide id="13" orient="horz" pos="2314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95D7368-0A17-1B47-8586-4BA40EA7B47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68230" y="381214"/>
            <a:ext cx="5031065" cy="55141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8" name="object 2"/>
          <p:cNvSpPr/>
          <p:nvPr/>
        </p:nvSpPr>
        <p:spPr>
          <a:xfrm>
            <a:off x="0" y="4191428"/>
            <a:ext cx="12188825" cy="2666957"/>
          </a:xfrm>
          <a:custGeom>
            <a:avLst/>
            <a:gdLst/>
            <a:ahLst/>
            <a:cxnLst/>
            <a:rect l="l" t="t" r="r" b="b"/>
            <a:pathLst>
              <a:path w="20104100" h="4398009">
                <a:moveTo>
                  <a:pt x="0" y="4397771"/>
                </a:moveTo>
                <a:lnTo>
                  <a:pt x="20104099" y="4397771"/>
                </a:lnTo>
                <a:lnTo>
                  <a:pt x="20104099" y="0"/>
                </a:lnTo>
                <a:lnTo>
                  <a:pt x="0" y="0"/>
                </a:lnTo>
                <a:lnTo>
                  <a:pt x="0" y="4397771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4251730" y="5506116"/>
            <a:ext cx="1750284" cy="615899"/>
          </a:xfrm>
        </p:spPr>
        <p:txBody>
          <a:bodyPr>
            <a:noAutofit/>
          </a:bodyPr>
          <a:lstStyle>
            <a:lvl1pPr>
              <a:defRPr sz="1455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Column three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2317340" y="5508349"/>
            <a:ext cx="1750283" cy="615899"/>
          </a:xfrm>
        </p:spPr>
        <p:txBody>
          <a:bodyPr>
            <a:noAutofit/>
          </a:bodyPr>
          <a:lstStyle>
            <a:lvl1pPr>
              <a:defRPr sz="1455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Column two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71440" y="4646651"/>
            <a:ext cx="2724474" cy="615899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3201" y="975908"/>
            <a:ext cx="5628812" cy="513249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spcBef>
                <a:spcPts val="858"/>
              </a:spcBef>
              <a:defRPr sz="4244" kern="1200" spc="-6" baseline="0"/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181953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40" y="1597510"/>
            <a:ext cx="2724474" cy="2348120"/>
          </a:xfrm>
        </p:spPr>
        <p:txBody>
          <a:bodyPr tIns="182880">
            <a:noAutofit/>
          </a:bodyPr>
          <a:lstStyle>
            <a:lvl1pPr>
              <a:lnSpc>
                <a:spcPts val="2365"/>
              </a:lnSpc>
              <a:spcBef>
                <a:spcPts val="0"/>
              </a:spcBef>
              <a:spcAft>
                <a:spcPts val="1091"/>
              </a:spcAft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Column one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1" y="1597510"/>
            <a:ext cx="2724474" cy="2348120"/>
          </a:xfrm>
        </p:spPr>
        <p:txBody>
          <a:bodyPr tIns="182880">
            <a:noAutofit/>
          </a:bodyPr>
          <a:lstStyle>
            <a:lvl1pPr>
              <a:lnSpc>
                <a:spcPts val="2365"/>
              </a:lnSpc>
              <a:spcBef>
                <a:spcPts val="0"/>
              </a:spcBef>
              <a:spcAft>
                <a:spcPts val="1091"/>
              </a:spcAft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Column two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71439" y="5502702"/>
            <a:ext cx="1749863" cy="615899"/>
          </a:xfrm>
        </p:spPr>
        <p:txBody>
          <a:bodyPr>
            <a:noAutofit/>
          </a:bodyPr>
          <a:lstStyle>
            <a:lvl1pPr>
              <a:defRPr sz="1455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Column on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75C7DE60-CC46-8D47-A06A-2B17A0419C0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16" name="Holder 6">
            <a:extLst>
              <a:ext uri="{FF2B5EF4-FFF2-40B4-BE49-F238E27FC236}">
                <a16:creationId xmlns:a16="http://schemas.microsoft.com/office/drawing/2014/main" id="{9EA350B0-E587-5F4D-8F8F-31EF6CA405CB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9D22C19-5712-F940-AFBD-5A6CCAB10E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758872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4">
          <p15:clr>
            <a:srgbClr val="FBAE40"/>
          </p15:clr>
        </p15:guide>
        <p15:guide id="10" pos="7436">
          <p15:clr>
            <a:srgbClr val="FBAE40"/>
          </p15:clr>
        </p15:guide>
        <p15:guide id="11" pos="11276">
          <p15:clr>
            <a:srgbClr val="FBAE40"/>
          </p15:clr>
        </p15:guide>
        <p15:guide id="12" orient="horz" pos="1642">
          <p15:clr>
            <a:srgbClr val="FBAE40"/>
          </p15:clr>
        </p15:guide>
        <p15:guide id="13" orient="horz" pos="6124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6" orient="horz" pos="298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C0AB3C0-200B-4B4B-B0F1-ABA44ADFE0A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86964" y="3720648"/>
            <a:ext cx="4651311" cy="238986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BE7DE52-1254-6249-ABAD-E525EA4DFF9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093482" y="3726193"/>
            <a:ext cx="1936246" cy="182428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7EBCB3D6-4D60-F14F-A0AF-3114855D24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52152" y="1968450"/>
            <a:ext cx="1934812" cy="164684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0E2EB56-7CED-7348-A58E-88E7CF5EF7B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937093"/>
            <a:ext cx="3094368" cy="267820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162686" y="937093"/>
            <a:ext cx="3692221" cy="895853"/>
          </a:xfrm>
        </p:spPr>
        <p:txBody>
          <a:bodyPr tIns="64008">
            <a:noAutofit/>
          </a:bodyPr>
          <a:lstStyle>
            <a:lvl1pPr>
              <a:lnSpc>
                <a:spcPct val="100000"/>
              </a:lnSpc>
              <a:spcBef>
                <a:spcPts val="298"/>
              </a:spcBef>
              <a:defRPr sz="2122" kern="1200" spc="-6" baseline="0"/>
            </a:lvl1pPr>
          </a:lstStyle>
          <a:p>
            <a:r>
              <a:rPr lang="en-US"/>
              <a:t>Two line </a:t>
            </a:r>
            <a:br>
              <a:rPr lang="en-US"/>
            </a:br>
            <a:r>
              <a:rPr lang="en-US"/>
              <a:t>page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181953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71439" y="4585656"/>
            <a:ext cx="1746321" cy="931548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1455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Image caption and/or tertiary information</a:t>
            </a:r>
          </a:p>
        </p:txBody>
      </p:sp>
      <p:pic>
        <p:nvPicPr>
          <p:cNvPr id="35" name="Picture 34" descr="A picture containing wheel&#10;&#10;Description automatically generated">
            <a:extLst>
              <a:ext uri="{FF2B5EF4-FFF2-40B4-BE49-F238E27FC236}">
                <a16:creationId xmlns:a16="http://schemas.microsoft.com/office/drawing/2014/main" id="{1139A26F-B067-D84F-A4E0-49B6F789055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197B536-B691-7446-9D91-744D726F3EB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40" y="3609750"/>
            <a:ext cx="11425926" cy="120496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E93359D-A64B-0D4B-B53C-424638ED95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62686" y="2095715"/>
            <a:ext cx="3692221" cy="89585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Holder 6">
            <a:extLst>
              <a:ext uri="{FF2B5EF4-FFF2-40B4-BE49-F238E27FC236}">
                <a16:creationId xmlns:a16="http://schemas.microsoft.com/office/drawing/2014/main" id="{3B0BEF5E-2804-4342-9630-9585A1E7994F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8DAE40B-6A7E-4042-9CBF-AA75ECF5588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5595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4">
          <p15:clr>
            <a:srgbClr val="FBAE40"/>
          </p15:clr>
        </p15:guide>
        <p15:guide id="13" orient="horz" pos="2177">
          <p15:clr>
            <a:srgbClr val="FBAE40"/>
          </p15:clr>
        </p15:guide>
        <p15:guide id="14" orient="horz" pos="970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C1FF589E-7E61-B747-A809-3BF6FE1AD92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39" y="931548"/>
            <a:ext cx="11451644" cy="120767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FC26BD-B34C-064A-95F7-17557B653C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71440" y="1230974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181953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26" name="Picture 25" descr="A picture containing wheel&#10;&#10;Description automatically generated">
            <a:extLst>
              <a:ext uri="{FF2B5EF4-FFF2-40B4-BE49-F238E27FC236}">
                <a16:creationId xmlns:a16="http://schemas.microsoft.com/office/drawing/2014/main" id="{33A47EFD-824B-AA4A-9E96-1787953BB3F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46C1DB38-126E-C546-A53C-0B564AED3AC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54924" y="1230974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6E03029A-3CB6-BD47-89E5-172273E6D19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38409" y="1230974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3" name="Picture Placeholder 4">
            <a:extLst>
              <a:ext uri="{FF2B5EF4-FFF2-40B4-BE49-F238E27FC236}">
                <a16:creationId xmlns:a16="http://schemas.microsoft.com/office/drawing/2014/main" id="{8425C69D-1918-D549-9100-570B7AB92A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71440" y="3670743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9497CC5A-7566-1C48-B5D5-683A9DEF7B4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54924" y="3670743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68E12BCF-FF9A-7546-953A-CDD97377D8B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38409" y="3670743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3EB5216-7CF5-AC4C-A29A-EEB163E428FB}"/>
              </a:ext>
            </a:extLst>
          </p:cNvPr>
          <p:cNvGrpSpPr/>
          <p:nvPr/>
        </p:nvGrpSpPr>
        <p:grpSpPr>
          <a:xfrm>
            <a:off x="4053882" y="887574"/>
            <a:ext cx="4077135" cy="199647"/>
            <a:chOff x="6686423" y="1463675"/>
            <a:chExt cx="6724777" cy="32923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F0919B2-E0D4-C244-A945-9728349D1673}"/>
                </a:ext>
              </a:extLst>
            </p:cNvPr>
            <p:cNvSpPr/>
            <p:nvPr/>
          </p:nvSpPr>
          <p:spPr>
            <a:xfrm>
              <a:off x="13085763" y="1463675"/>
              <a:ext cx="325437" cy="3047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91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BD08769-5B71-F64F-BC54-9D2BF8212A8C}"/>
                </a:ext>
              </a:extLst>
            </p:cNvPr>
            <p:cNvSpPr/>
            <p:nvPr/>
          </p:nvSpPr>
          <p:spPr>
            <a:xfrm>
              <a:off x="6686423" y="1488109"/>
              <a:ext cx="325437" cy="3047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91"/>
            </a:p>
          </p:txBody>
        </p:sp>
      </p:grpSp>
      <p:sp>
        <p:nvSpPr>
          <p:cNvPr id="17" name="Holder 6">
            <a:extLst>
              <a:ext uri="{FF2B5EF4-FFF2-40B4-BE49-F238E27FC236}">
                <a16:creationId xmlns:a16="http://schemas.microsoft.com/office/drawing/2014/main" id="{273E81E8-10A1-4E4E-AA42-786546C9CB9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247CA37A-0B71-1946-9121-C831D8C981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35247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139">
          <p15:clr>
            <a:srgbClr val="FBAE40"/>
          </p15:clr>
        </p15:guide>
        <p15:guide id="12" orient="horz" pos="1271">
          <p15:clr>
            <a:srgbClr val="FBAE40"/>
          </p15:clr>
        </p15:guide>
        <p15:guide id="13" orient="horz" pos="3802">
          <p15:clr>
            <a:srgbClr val="FBAE40"/>
          </p15:clr>
        </p15:guide>
        <p15:guide id="14" orient="horz" pos="1085">
          <p15:clr>
            <a:srgbClr val="FBAE40"/>
          </p15:clr>
        </p15:guide>
        <p15:guide id="15" orient="horz" pos="6514">
          <p15:clr>
            <a:srgbClr val="FBAE40"/>
          </p15:clr>
        </p15:guide>
        <p15:guide id="16" orient="horz" pos="3600">
          <p15:clr>
            <a:srgbClr val="FBAE40"/>
          </p15:clr>
        </p15:guide>
        <p15:guide id="17" orient="horz" pos="643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181953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14" name="Picture 13" descr="A picture containing wheel&#10;&#10;Description automatically generated">
            <a:extLst>
              <a:ext uri="{FF2B5EF4-FFF2-40B4-BE49-F238E27FC236}">
                <a16:creationId xmlns:a16="http://schemas.microsoft.com/office/drawing/2014/main" id="{2AC7F684-2439-AD47-A936-BAEC54FFB61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1DF996A-4428-A844-ADA2-56775069BED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553470" y="618992"/>
            <a:ext cx="5984059" cy="598519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Holder 6">
            <a:extLst>
              <a:ext uri="{FF2B5EF4-FFF2-40B4-BE49-F238E27FC236}">
                <a16:creationId xmlns:a16="http://schemas.microsoft.com/office/drawing/2014/main" id="{6AB7BBD9-9766-3146-8122-C9C6E3F7A5B1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FF3E4F-7019-B342-BF26-AF5C2C11FD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16A64FD4-81E8-DA47-A7DC-84CECB1266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3201" y="975908"/>
            <a:ext cx="5628812" cy="513249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spcBef>
                <a:spcPts val="858"/>
              </a:spcBef>
              <a:defRPr sz="4244" kern="1200" spc="-6" baseline="0"/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8817811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2">
            <a:extLst>
              <a:ext uri="{FF2B5EF4-FFF2-40B4-BE49-F238E27FC236}">
                <a16:creationId xmlns:a16="http://schemas.microsoft.com/office/drawing/2014/main" id="{791688A6-CF45-7449-9CB2-A24896AFBAC5}"/>
              </a:ext>
            </a:extLst>
          </p:cNvPr>
          <p:cNvSpPr/>
          <p:nvPr/>
        </p:nvSpPr>
        <p:spPr>
          <a:xfrm>
            <a:off x="5223142" y="385"/>
            <a:ext cx="6966033" cy="6857615"/>
          </a:xfrm>
          <a:custGeom>
            <a:avLst/>
            <a:gdLst/>
            <a:ahLst/>
            <a:cxnLst/>
            <a:rect l="l" t="t" r="r" b="b"/>
            <a:pathLst>
              <a:path w="11489690" h="11308715">
                <a:moveTo>
                  <a:pt x="0" y="11308556"/>
                </a:moveTo>
                <a:lnTo>
                  <a:pt x="11489178" y="11308556"/>
                </a:lnTo>
                <a:lnTo>
                  <a:pt x="11489178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3201" y="975908"/>
            <a:ext cx="3688457" cy="1026498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spcBef>
                <a:spcPts val="0"/>
              </a:spcBef>
              <a:defRPr sz="4244" kern="1200" spc="-6" baseline="0"/>
            </a:lvl1pPr>
          </a:lstStyle>
          <a:p>
            <a:r>
              <a:rPr lang="en-US"/>
              <a:t>Pag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88379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3551FB62-DBA4-F947-B9F2-3141E9F1047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84CD10-14F1-4C4A-B3C8-DAA6EA25BA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1439" y="2225673"/>
            <a:ext cx="3695917" cy="4049917"/>
          </a:xfrm>
        </p:spPr>
        <p:txBody>
          <a:bodyPr/>
          <a:lstStyle>
            <a:lvl1pPr>
              <a:lnSpc>
                <a:spcPts val="2365"/>
              </a:lnSpc>
              <a:spcBef>
                <a:spcPts val="485"/>
              </a:spcBef>
              <a:spcAft>
                <a:spcPts val="485"/>
              </a:spcAft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lnSpc>
                <a:spcPts val="2365"/>
              </a:lnSpc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7200" indent="-277200">
              <a:spcAft>
                <a:spcPts val="485"/>
              </a:spcAft>
              <a:buFont typeface="System Font Regular"/>
              <a:buChar char="→"/>
              <a:defRPr sz="1455"/>
            </a:lvl4pPr>
            <a:lvl5pPr marL="0">
              <a:spcAft>
                <a:spcPts val="485"/>
              </a:spcAft>
              <a:defRPr sz="1455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E2E6038-721A-CE45-850C-F99F94440DD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94510" y="989616"/>
            <a:ext cx="4658395" cy="438010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Holder 6">
            <a:extLst>
              <a:ext uri="{FF2B5EF4-FFF2-40B4-BE49-F238E27FC236}">
                <a16:creationId xmlns:a16="http://schemas.microsoft.com/office/drawing/2014/main" id="{CEE9BD36-3C6B-FA47-93F9-9F7D70B7DC1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0821BEA-DDFB-B648-A500-7B808FD005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754341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12" orient="horz" pos="6519">
          <p15:clr>
            <a:srgbClr val="FBAE40"/>
          </p15:clr>
        </p15:guide>
        <p15:guide id="13" orient="horz" pos="2314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AES Internal [2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2">
            <a:extLst>
              <a:ext uri="{FF2B5EF4-FFF2-40B4-BE49-F238E27FC236}">
                <a16:creationId xmlns:a16="http://schemas.microsoft.com/office/drawing/2014/main" id="{791688A6-CF45-7449-9CB2-A24896AFBAC5}"/>
              </a:ext>
            </a:extLst>
          </p:cNvPr>
          <p:cNvSpPr/>
          <p:nvPr/>
        </p:nvSpPr>
        <p:spPr>
          <a:xfrm>
            <a:off x="5309030" y="385"/>
            <a:ext cx="6966033" cy="6857615"/>
          </a:xfrm>
          <a:custGeom>
            <a:avLst/>
            <a:gdLst/>
            <a:ahLst/>
            <a:cxnLst/>
            <a:rect l="l" t="t" r="r" b="b"/>
            <a:pathLst>
              <a:path w="11489690" h="11308715">
                <a:moveTo>
                  <a:pt x="0" y="11308556"/>
                </a:moveTo>
                <a:lnTo>
                  <a:pt x="11489178" y="11308556"/>
                </a:lnTo>
                <a:lnTo>
                  <a:pt x="11489178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3201" y="975908"/>
            <a:ext cx="3688457" cy="1026498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spcBef>
                <a:spcPts val="0"/>
              </a:spcBef>
              <a:defRPr sz="4244" kern="1200" spc="-6" baseline="0"/>
            </a:lvl1pPr>
          </a:lstStyle>
          <a:p>
            <a:r>
              <a:rPr lang="en-US"/>
              <a:t>Pag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88379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3551FB62-DBA4-F947-B9F2-3141E9F1047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84CD10-14F1-4C4A-B3C8-DAA6EA25BA1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39" y="2225673"/>
            <a:ext cx="3695917" cy="4049917"/>
          </a:xfrm>
        </p:spPr>
        <p:txBody>
          <a:bodyPr/>
          <a:lstStyle>
            <a:lvl1pPr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7200" indent="-277200"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Holder 6">
            <a:extLst>
              <a:ext uri="{FF2B5EF4-FFF2-40B4-BE49-F238E27FC236}">
                <a16:creationId xmlns:a16="http://schemas.microsoft.com/office/drawing/2014/main" id="{C95EDC03-31B7-804E-AEDD-359A186FE21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28F73E6-AF80-9445-B5C5-CF00EC51B18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C51953F-3B4D-6245-AF7D-7B91EFDE28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92185" y="2220860"/>
            <a:ext cx="3695917" cy="4049917"/>
          </a:xfrm>
        </p:spPr>
        <p:txBody>
          <a:bodyPr/>
          <a:lstStyle>
            <a:lvl1pPr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7200" indent="-277200"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3113831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12" orient="horz" pos="6519">
          <p15:clr>
            <a:srgbClr val="FBAE40"/>
          </p15:clr>
        </p15:guide>
        <p15:guide id="13" orient="horz" pos="2314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 AES Internal [2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2">
            <a:extLst>
              <a:ext uri="{FF2B5EF4-FFF2-40B4-BE49-F238E27FC236}">
                <a16:creationId xmlns:a16="http://schemas.microsoft.com/office/drawing/2014/main" id="{791688A6-CF45-7449-9CB2-A24896AFBAC5}"/>
              </a:ext>
            </a:extLst>
          </p:cNvPr>
          <p:cNvSpPr/>
          <p:nvPr/>
        </p:nvSpPr>
        <p:spPr>
          <a:xfrm>
            <a:off x="5221514" y="0"/>
            <a:ext cx="6966033" cy="6857615"/>
          </a:xfrm>
          <a:custGeom>
            <a:avLst/>
            <a:gdLst/>
            <a:ahLst/>
            <a:cxnLst/>
            <a:rect l="l" t="t" r="r" b="b"/>
            <a:pathLst>
              <a:path w="11489690" h="11308715">
                <a:moveTo>
                  <a:pt x="0" y="11308556"/>
                </a:moveTo>
                <a:lnTo>
                  <a:pt x="11489178" y="11308556"/>
                </a:lnTo>
                <a:lnTo>
                  <a:pt x="11489178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5" name="Picture 14" descr="A picture containing wheel&#10;&#10;Description automatically generated">
            <a:extLst>
              <a:ext uri="{FF2B5EF4-FFF2-40B4-BE49-F238E27FC236}">
                <a16:creationId xmlns:a16="http://schemas.microsoft.com/office/drawing/2014/main" id="{7525D4D8-0C2C-4740-92DB-9F85C07F0D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B4CF491-4EFB-084D-A61D-19BB5F745B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9284" y="975908"/>
            <a:ext cx="4662553" cy="5285897"/>
          </a:xfrm>
        </p:spPr>
        <p:txBody>
          <a:bodyPr>
            <a:normAutofit/>
          </a:bodyPr>
          <a:lstStyle>
            <a:lvl1pPr marL="0" indent="0">
              <a:lnSpc>
                <a:spcPts val="4002"/>
              </a:lnSpc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4244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lnSpc>
                <a:spcPct val="100000"/>
              </a:lnSpc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lang="en-US" sz="1455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>
              <a:defRPr lang="en-US" sz="1455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>
              <a:defRPr lang="en-US" sz="1455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0" lvl="2">
              <a:spcAft>
                <a:spcPts val="485"/>
              </a:spcAft>
            </a:pPr>
            <a:r>
              <a:rPr lang="en-US"/>
              <a:t>Third level</a:t>
            </a:r>
          </a:p>
          <a:p>
            <a:pPr marL="277200" lvl="3" indent="-277200">
              <a:spcAft>
                <a:spcPts val="485"/>
              </a:spcAft>
              <a:buFont typeface="System Font Regular"/>
              <a:buChar char="→"/>
            </a:pPr>
            <a:r>
              <a:rPr lang="en-US"/>
              <a:t>Fourth level</a:t>
            </a:r>
          </a:p>
          <a:p>
            <a:pPr marL="0" lvl="4">
              <a:spcAft>
                <a:spcPts val="485"/>
              </a:spcAft>
            </a:pPr>
            <a:r>
              <a:rPr lang="en-US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83CE846-9DEF-F54D-B67D-F1527206089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1693" y="975908"/>
            <a:ext cx="4661212" cy="529952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-44352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lang="en-US" sz="1455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>
              <a:spcAft>
                <a:spcPts val="485"/>
              </a:spcAft>
              <a:buFont typeface="System Font Regular"/>
              <a:defRPr lang="en-US" sz="1455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>
              <a:defRPr lang="en-US" sz="1455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0" lvl="2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</a:pPr>
            <a:r>
              <a:rPr lang="en-US"/>
              <a:t>Third level</a:t>
            </a:r>
          </a:p>
          <a:p>
            <a:pPr marL="277200" lvl="3" indent="-277200">
              <a:spcAft>
                <a:spcPts val="485"/>
              </a:spcAft>
              <a:buFont typeface="System Font Regular"/>
              <a:buChar char="→"/>
            </a:pPr>
            <a:r>
              <a:rPr lang="en-US"/>
              <a:t>Fourth level</a:t>
            </a:r>
          </a:p>
          <a:p>
            <a:pPr marL="0" lvl="4">
              <a:spcAft>
                <a:spcPts val="485"/>
              </a:spcAft>
            </a:pPr>
            <a:r>
              <a:rPr lang="en-US"/>
              <a:t>Fifth level</a:t>
            </a:r>
          </a:p>
        </p:txBody>
      </p:sp>
      <p:sp>
        <p:nvSpPr>
          <p:cNvPr id="12" name="Holder 6">
            <a:extLst>
              <a:ext uri="{FF2B5EF4-FFF2-40B4-BE49-F238E27FC236}">
                <a16:creationId xmlns:a16="http://schemas.microsoft.com/office/drawing/2014/main" id="{5568332A-3C71-D54E-B118-FE100A550DC1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6FB4913-1BE1-2E46-929D-DB8BDFE78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3904974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4" orient="horz" pos="1021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 AES Internal [3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1950352"/>
            <a:ext cx="3690219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6454" y="1950352"/>
            <a:ext cx="3695917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32864" y="1950352"/>
            <a:ext cx="3690219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C1BE46A8-5E78-D540-B7A4-A3ABB3FA147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1385658-B7C9-D440-949B-D94D13F175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739196"/>
            <a:ext cx="3690219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AEE4267-A41A-5140-83CE-41FEC571290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39447" y="2739196"/>
            <a:ext cx="3695917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62572B3-F251-1D45-8BFA-4003EE28528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8850" y="2739196"/>
            <a:ext cx="3690220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Holder 6">
            <a:extLst>
              <a:ext uri="{FF2B5EF4-FFF2-40B4-BE49-F238E27FC236}">
                <a16:creationId xmlns:a16="http://schemas.microsoft.com/office/drawing/2014/main" id="{097D15B3-42A8-6D4C-ABF7-5CA7BA9BCAE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59DAEC1-F79B-5447-9B9D-9E08CD7E64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7079493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519">
          <p15:clr>
            <a:srgbClr val="FBAE40"/>
          </p15:clr>
        </p15:guide>
        <p15:guide id="12" orient="horz" pos="2026">
          <p15:clr>
            <a:srgbClr val="FBAE40"/>
          </p15:clr>
        </p15:guide>
        <p15:guide id="13" orient="horz" pos="2842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7" orient="horz" pos="643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 AES Internal [3 Column 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14529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4036709"/>
            <a:ext cx="3690219" cy="621498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6454" y="4036709"/>
            <a:ext cx="3695917" cy="621498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27166" y="4036709"/>
            <a:ext cx="3695917" cy="621498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pic>
        <p:nvPicPr>
          <p:cNvPr id="18" name="Picture 17" descr="A picture containing wheel&#10;&#10;Description automatically generated">
            <a:extLst>
              <a:ext uri="{FF2B5EF4-FFF2-40B4-BE49-F238E27FC236}">
                <a16:creationId xmlns:a16="http://schemas.microsoft.com/office/drawing/2014/main" id="{C2157615-D9F9-6940-8E15-578A5562F2E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CC0ECDD-BAC6-C443-B041-A212411416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4907648"/>
            <a:ext cx="3690219" cy="137125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C45F515-B6F2-2B42-A0E4-EF5C046384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21469" y="4907648"/>
            <a:ext cx="3695917" cy="137125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EE0980D-BC13-8F42-956B-E113FBFB24C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43606" y="4907648"/>
            <a:ext cx="3695917" cy="137125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06A6E82-1007-3046-9A83-7E172C222A9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742" y="979990"/>
            <a:ext cx="3695917" cy="286488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A919393-093C-F948-B8CB-0314CBC5A7C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246454" y="979990"/>
            <a:ext cx="3695917" cy="286488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9449791-FEF1-D843-BAEC-4498C148369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7166" y="979990"/>
            <a:ext cx="3695917" cy="286488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Holder 6">
            <a:extLst>
              <a:ext uri="{FF2B5EF4-FFF2-40B4-BE49-F238E27FC236}">
                <a16:creationId xmlns:a16="http://schemas.microsoft.com/office/drawing/2014/main" id="{A8425E57-4C38-AD4D-A99A-FFF14F177D4C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83B4DCA-1D25-D441-88B5-74DD837EC8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839122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3" orient="horz" pos="5098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6" orient="horz" pos="418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n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0"/>
            <a:ext cx="12188825" cy="6856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1920174"/>
      </p:ext>
    </p:extLst>
  </p:cSld>
  <p:clrMapOvr>
    <a:masterClrMapping/>
  </p:clrMapOvr>
  <p:hf hdr="0" ftr="0" dt="0"/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 AES Internal [4 Column 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/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3216060"/>
            <a:ext cx="2720041" cy="518848"/>
          </a:xfrm>
        </p:spPr>
        <p:txBody>
          <a:bodyPr tIns="9144">
            <a:normAutofit/>
          </a:bodyPr>
          <a:lstStyle>
            <a:lvl1pPr marL="0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1218" y="3216060"/>
            <a:ext cx="2720040" cy="518848"/>
          </a:xfrm>
        </p:spPr>
        <p:txBody>
          <a:bodyPr tIns="9144">
            <a:normAutofit/>
          </a:bodyPr>
          <a:lstStyle>
            <a:lvl1pPr marL="0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01196" y="3216060"/>
            <a:ext cx="2720040" cy="518848"/>
          </a:xfrm>
        </p:spPr>
        <p:txBody>
          <a:bodyPr tIns="9144">
            <a:normAutofit/>
          </a:bodyPr>
          <a:lstStyle>
            <a:lvl1pPr marL="0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A76F70D-96D0-104C-A023-D33CFDD6D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77569" y="3216060"/>
            <a:ext cx="2720040" cy="518848"/>
          </a:xfrm>
        </p:spPr>
        <p:txBody>
          <a:bodyPr tIns="9144">
            <a:normAutofit/>
          </a:bodyPr>
          <a:lstStyle>
            <a:lvl1pPr marL="0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58" name="Picture 57" descr="A picture containing wheel&#10;&#10;Description automatically generated">
            <a:extLst>
              <a:ext uri="{FF2B5EF4-FFF2-40B4-BE49-F238E27FC236}">
                <a16:creationId xmlns:a16="http://schemas.microsoft.com/office/drawing/2014/main" id="{C45FBAE5-9C69-3D4D-8D0B-EB30E418B76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F17BD89D-839A-7F43-BFE4-3C3D5BC838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3470" y="3992350"/>
            <a:ext cx="2717740" cy="229209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33812876-F3D0-BF4A-ABF9-0D0626AF4A5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77112" y="3992350"/>
            <a:ext cx="2717740" cy="229209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A0301BE8-9C73-E74B-9FBD-9CB850EE381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8267" y="3992350"/>
            <a:ext cx="2717740" cy="229209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65512032-830E-4547-A341-F62A78C8D2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5754" y="3992350"/>
            <a:ext cx="2717740" cy="229209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6EC01602-C819-B34F-9755-15789967040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742" y="979989"/>
            <a:ext cx="2717740" cy="197862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9A26958C-B51A-144D-BBBB-32201A2BDD5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276276" y="979989"/>
            <a:ext cx="2717740" cy="197862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8D8F022D-5556-254C-A105-8AB0AD2A5F9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186811" y="979989"/>
            <a:ext cx="2717740" cy="197862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6AB2F741-53F4-BE48-A8FC-622B74F6625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097345" y="979989"/>
            <a:ext cx="2717740" cy="197862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Holder 6">
            <a:extLst>
              <a:ext uri="{FF2B5EF4-FFF2-40B4-BE49-F238E27FC236}">
                <a16:creationId xmlns:a16="http://schemas.microsoft.com/office/drawing/2014/main" id="{AD7DD2E0-71A1-1D4E-9B38-473F805C0EE4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14B79C3-514A-814E-B989-A219DC3ADEB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8129363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2" orient="horz" pos="3322">
          <p15:clr>
            <a:srgbClr val="FBAE40"/>
          </p15:clr>
        </p15:guide>
        <p15:guide id="13" orient="horz" pos="4138">
          <p15:clr>
            <a:srgbClr val="FBAE40"/>
          </p15:clr>
        </p15:guide>
        <p15:guide id="14" orient="horz" pos="5603">
          <p15:clr>
            <a:srgbClr val="FBAE40"/>
          </p15:clr>
        </p15:guide>
        <p15:guide id="17" orient="horz" pos="298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 AES Internal [4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6C723557-140B-294B-883B-2674F360C7C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194510" y="4074894"/>
            <a:ext cx="2697865" cy="2190247"/>
          </a:xfrm>
        </p:spPr>
        <p:txBody>
          <a:bodyPr>
            <a:noAutofit/>
          </a:bodyPr>
          <a:lstStyle>
            <a:lvl1pPr marL="443521" indent="-44352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1455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521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sz="145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/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975908"/>
            <a:ext cx="2720041" cy="1032097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wo 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4511" y="975908"/>
            <a:ext cx="2697865" cy="1032097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wo 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97345" y="975908"/>
            <a:ext cx="2722197" cy="1032097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wo line titl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A76F70D-96D0-104C-A023-D33CFDD6D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04150" y="975908"/>
            <a:ext cx="2697865" cy="1032097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wo line title</a:t>
            </a:r>
          </a:p>
        </p:txBody>
      </p:sp>
      <p:pic>
        <p:nvPicPr>
          <p:cNvPr id="41" name="Picture 40" descr="A picture containing wheel&#10;&#10;Description automatically generated">
            <a:extLst>
              <a:ext uri="{FF2B5EF4-FFF2-40B4-BE49-F238E27FC236}">
                <a16:creationId xmlns:a16="http://schemas.microsoft.com/office/drawing/2014/main" id="{58984222-93F8-7048-9ECE-5534D90B02C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DBA9D78-C24E-3542-B126-B9D0417DAE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226636"/>
            <a:ext cx="2720041" cy="157202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E507EFF1-AFB5-6443-9951-68BA6175945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304150" y="2226636"/>
            <a:ext cx="2697865" cy="157202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D9D058CD-3278-2748-B4B3-C06320E484E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94512" y="2226636"/>
            <a:ext cx="2697865" cy="157202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0F275BCE-FC74-0A46-A675-0F617C1130E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97345" y="2226636"/>
            <a:ext cx="2722197" cy="157202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02606580-C414-C44C-B66A-A3091B3247B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04150" y="4074894"/>
            <a:ext cx="2697865" cy="2190247"/>
          </a:xfrm>
        </p:spPr>
        <p:txBody>
          <a:bodyPr>
            <a:noAutofit/>
          </a:bodyPr>
          <a:lstStyle>
            <a:lvl1pPr marL="443521" indent="-44352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1455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521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sz="145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B4EB9E0-49C9-E34E-A023-1A9483B06B8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71439" y="4074894"/>
            <a:ext cx="2720041" cy="2190247"/>
          </a:xfrm>
        </p:spPr>
        <p:txBody>
          <a:bodyPr>
            <a:noAutofit/>
          </a:bodyPr>
          <a:lstStyle>
            <a:lvl1pPr marL="443521" indent="-44352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1455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521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sz="145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90CDAACA-09B9-C346-9A39-627C1D8A901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97345" y="4074894"/>
            <a:ext cx="2722197" cy="2190247"/>
          </a:xfrm>
        </p:spPr>
        <p:txBody>
          <a:bodyPr>
            <a:noAutofit/>
          </a:bodyPr>
          <a:lstStyle>
            <a:lvl1pPr marL="443521" indent="-44352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1455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521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sz="145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Holder 6">
            <a:extLst>
              <a:ext uri="{FF2B5EF4-FFF2-40B4-BE49-F238E27FC236}">
                <a16:creationId xmlns:a16="http://schemas.microsoft.com/office/drawing/2014/main" id="{672AB3D8-585E-B846-AF90-18EE3FECA32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D9DE861A-D6C1-6C4C-A17B-5F1F5338C83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8641754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2" orient="horz" pos="4224">
          <p15:clr>
            <a:srgbClr val="FBAE40"/>
          </p15:clr>
        </p15:guide>
        <p15:guide id="13" orient="horz" pos="2313">
          <p15:clr>
            <a:srgbClr val="FBAE40"/>
          </p15:clr>
        </p15:guide>
        <p15:guide id="14" orient="horz" pos="1004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 AES Internal [6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39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942638"/>
            <a:ext cx="3690218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6454" y="942638"/>
            <a:ext cx="3695916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27166" y="942638"/>
            <a:ext cx="3692375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85AE1DE9-C4DC-0747-9E4D-B3297B6A5CF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39" y="3770552"/>
            <a:ext cx="3690218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38B1B4F7-4313-9A48-94FC-A21951398B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46454" y="3770552"/>
            <a:ext cx="3695916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30A0D0DA-ECF4-D546-9966-CE4A8AFD937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27166" y="3770552"/>
            <a:ext cx="3692375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pic>
        <p:nvPicPr>
          <p:cNvPr id="46" name="Picture 45" descr="A picture containing wheel&#10;&#10;Description automatically generated">
            <a:extLst>
              <a:ext uri="{FF2B5EF4-FFF2-40B4-BE49-F238E27FC236}">
                <a16:creationId xmlns:a16="http://schemas.microsoft.com/office/drawing/2014/main" id="{E4223E6B-0F11-0342-8303-C9ED1F40475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CB3DD61E-93BD-3B4E-9A3C-A73A593459B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1439" y="4652196"/>
            <a:ext cx="3690219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273BB677-CF77-3443-83E9-67F96FE1D5B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246454" y="4652196"/>
            <a:ext cx="3695917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85A78AD6-DDEA-B94C-8CDE-8EBD70BE250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7167" y="4652196"/>
            <a:ext cx="3692375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BA4202AB-2831-C540-8D23-D37E42B301D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71439" y="1819241"/>
            <a:ext cx="3690219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F7A92D07-F8E0-BF47-BF8A-45D79F48529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46454" y="1819241"/>
            <a:ext cx="3695917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0790FE8D-1A26-C246-9C82-5A5EFC7F88D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127167" y="1819241"/>
            <a:ext cx="3692375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Holder 6">
            <a:extLst>
              <a:ext uri="{FF2B5EF4-FFF2-40B4-BE49-F238E27FC236}">
                <a16:creationId xmlns:a16="http://schemas.microsoft.com/office/drawing/2014/main" id="{C9635295-E32A-C549-AE56-00BF937C60AB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E28DE288-1D05-1547-B26F-714639A1DF0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0270075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490">
          <p15:clr>
            <a:srgbClr val="FBAE40"/>
          </p15:clr>
        </p15:guide>
        <p15:guide id="13" orient="horz" pos="1882">
          <p15:clr>
            <a:srgbClr val="FBAE40"/>
          </p15:clr>
        </p15:guide>
        <p15:guide id="14" orient="horz" pos="970">
          <p15:clr>
            <a:srgbClr val="FBAE40"/>
          </p15:clr>
        </p15:guide>
        <p15:guide id="17" orient="horz" pos="4837">
          <p15:clr>
            <a:srgbClr val="FBAE40"/>
          </p15:clr>
        </p15:guide>
        <p15:guide id="20" orient="horz" pos="3917">
          <p15:clr>
            <a:srgbClr val="FBAE40"/>
          </p15:clr>
        </p15:guide>
        <p15:guide id="21" orient="horz" pos="1611">
          <p15:clr>
            <a:srgbClr val="FBAE40"/>
          </p15:clr>
        </p15:guide>
        <p15:guide id="22" orient="horz" pos="4545">
          <p15:clr>
            <a:srgbClr val="FBAE40"/>
          </p15:clr>
        </p15:guide>
        <p15:guide id="23" orient="horz" pos="643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 AES Internal [6 Grid 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object 9">
            <a:extLst>
              <a:ext uri="{FF2B5EF4-FFF2-40B4-BE49-F238E27FC236}">
                <a16:creationId xmlns:a16="http://schemas.microsoft.com/office/drawing/2014/main" id="{2FB943FF-8B77-BA40-897F-995F9B88CB58}"/>
              </a:ext>
            </a:extLst>
          </p:cNvPr>
          <p:cNvSpPr/>
          <p:nvPr/>
        </p:nvSpPr>
        <p:spPr>
          <a:xfrm>
            <a:off x="4195133" y="3521031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4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8" name="object 2">
            <a:extLst>
              <a:ext uri="{FF2B5EF4-FFF2-40B4-BE49-F238E27FC236}">
                <a16:creationId xmlns:a16="http://schemas.microsoft.com/office/drawing/2014/main" id="{6BB95872-F51B-D049-8879-0CA8E559C6D6}"/>
              </a:ext>
            </a:extLst>
          </p:cNvPr>
          <p:cNvSpPr/>
          <p:nvPr/>
        </p:nvSpPr>
        <p:spPr>
          <a:xfrm>
            <a:off x="371440" y="981453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5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 spc="-6" baseline="0"/>
          </a:p>
        </p:txBody>
      </p:sp>
      <p:sp>
        <p:nvSpPr>
          <p:cNvPr id="60" name="object 4">
            <a:extLst>
              <a:ext uri="{FF2B5EF4-FFF2-40B4-BE49-F238E27FC236}">
                <a16:creationId xmlns:a16="http://schemas.microsoft.com/office/drawing/2014/main" id="{686A7363-E8B5-374F-99FC-667EB0953A7E}"/>
              </a:ext>
            </a:extLst>
          </p:cNvPr>
          <p:cNvSpPr/>
          <p:nvPr/>
        </p:nvSpPr>
        <p:spPr>
          <a:xfrm>
            <a:off x="8002090" y="981453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5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975924-3337-DC45-A059-6916F5829F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6900" y="1114531"/>
            <a:ext cx="1554403" cy="405933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E563CE52-0B2A-FC45-9BA3-B228D53434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5475" y="3676288"/>
            <a:ext cx="1557069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6" name="Text Placeholder 3">
            <a:extLst>
              <a:ext uri="{FF2B5EF4-FFF2-40B4-BE49-F238E27FC236}">
                <a16:creationId xmlns:a16="http://schemas.microsoft.com/office/drawing/2014/main" id="{23B0CCAE-3E3E-524A-9978-45E0360424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79661" y="1114531"/>
            <a:ext cx="1569347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7" name="Text Placeholder 3">
            <a:extLst>
              <a:ext uri="{FF2B5EF4-FFF2-40B4-BE49-F238E27FC236}">
                <a16:creationId xmlns:a16="http://schemas.microsoft.com/office/drawing/2014/main" id="{991E0909-7CF2-C847-9F00-BEB6C298BE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9661" y="3676288"/>
            <a:ext cx="1569347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51CE83B5-6886-844E-8EFD-166FD9A10C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82759" y="3676288"/>
            <a:ext cx="1561371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99160EDD-353C-D041-809C-866103654C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82759" y="1114531"/>
            <a:ext cx="1561371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26" name="Picture 25" descr="A picture containing wheel&#10;&#10;Description automatically generated">
            <a:extLst>
              <a:ext uri="{FF2B5EF4-FFF2-40B4-BE49-F238E27FC236}">
                <a16:creationId xmlns:a16="http://schemas.microsoft.com/office/drawing/2014/main" id="{927658FD-7870-8C4E-B863-4E23D5B7974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E7D16D-77CA-754B-860C-AC3D1719D9F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335920" y="1395859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DA236BD8-75EF-8444-B8AF-7E2EB9FC37B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16633" y="1395859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2D9BD3E9-72E7-C147-A2D4-859F993768B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097345" y="1395859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40E6A6F4-B474-FF42-BACD-1144AAD2FDF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335920" y="3983493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EB16904F-05C4-FB4E-8E41-DC88FF4657A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216633" y="3983493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0CFDD25B-241C-EE4B-99F8-89DA1BAE632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097345" y="3983493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3" name="Holder 6">
            <a:extLst>
              <a:ext uri="{FF2B5EF4-FFF2-40B4-BE49-F238E27FC236}">
                <a16:creationId xmlns:a16="http://schemas.microsoft.com/office/drawing/2014/main" id="{EA485649-022B-3946-8A30-C2DD152AFF58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2450B02-C863-3241-B588-316C0DF9B8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0321759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8">
          <p15:clr>
            <a:srgbClr val="FBAE40"/>
          </p15:clr>
        </p15:guide>
        <p15:guide id="4" orient="horz" pos="6519">
          <p15:clr>
            <a:srgbClr val="FBAE40"/>
          </p15:clr>
        </p15:guide>
        <p15:guide id="12" orient="horz" pos="3648">
          <p15:clr>
            <a:srgbClr val="FBAE40"/>
          </p15:clr>
        </p15:guide>
        <p15:guide id="13" orient="horz" pos="6310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5" orient="horz" pos="638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 AES Internal [6 Grid 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26" name="Picture 25" descr="A picture containing wheel&#10;&#10;Description automatically generated">
            <a:extLst>
              <a:ext uri="{FF2B5EF4-FFF2-40B4-BE49-F238E27FC236}">
                <a16:creationId xmlns:a16="http://schemas.microsoft.com/office/drawing/2014/main" id="{927658FD-7870-8C4E-B863-4E23D5B7974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22" name="Holder 6">
            <a:extLst>
              <a:ext uri="{FF2B5EF4-FFF2-40B4-BE49-F238E27FC236}">
                <a16:creationId xmlns:a16="http://schemas.microsoft.com/office/drawing/2014/main" id="{8E1F3504-BD62-B24E-AC65-38655A6B2AD8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6E1CB1-F6A0-D145-B486-3814B7531D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975924-3337-DC45-A059-6916F5829F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7632" y="1114531"/>
            <a:ext cx="1554402" cy="405933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E563CE52-0B2A-FC45-9BA3-B228D53434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6208" y="3676288"/>
            <a:ext cx="1554402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6" name="Text Placeholder 3">
            <a:extLst>
              <a:ext uri="{FF2B5EF4-FFF2-40B4-BE49-F238E27FC236}">
                <a16:creationId xmlns:a16="http://schemas.microsoft.com/office/drawing/2014/main" id="{23B0CCAE-3E3E-524A-9978-45E0360424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6920" y="1114531"/>
            <a:ext cx="1554402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7" name="Text Placeholder 3">
            <a:extLst>
              <a:ext uri="{FF2B5EF4-FFF2-40B4-BE49-F238E27FC236}">
                <a16:creationId xmlns:a16="http://schemas.microsoft.com/office/drawing/2014/main" id="{991E0909-7CF2-C847-9F00-BEB6C298BE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66920" y="3676288"/>
            <a:ext cx="1554402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51CE83B5-6886-844E-8EFD-166FD9A10C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43326" y="3676288"/>
            <a:ext cx="1554402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99160EDD-353C-D041-809C-866103654C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43326" y="1114531"/>
            <a:ext cx="1554402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0431645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519">
          <p15:clr>
            <a:srgbClr val="FBAE40"/>
          </p15:clr>
        </p15:guide>
        <p15:guide id="12" orient="horz" pos="3610">
          <p15:clr>
            <a:srgbClr val="FBAE40"/>
          </p15:clr>
        </p15:guide>
        <p15:guide id="13" orient="horz" pos="6310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5" orient="horz" pos="638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 AES Internal [6 Grid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ject 9">
            <a:extLst>
              <a:ext uri="{FF2B5EF4-FFF2-40B4-BE49-F238E27FC236}">
                <a16:creationId xmlns:a16="http://schemas.microsoft.com/office/drawing/2014/main" id="{CB6F4EB2-167E-924A-A56F-B516773A281E}"/>
              </a:ext>
            </a:extLst>
          </p:cNvPr>
          <p:cNvSpPr/>
          <p:nvPr/>
        </p:nvSpPr>
        <p:spPr>
          <a:xfrm>
            <a:off x="4195133" y="3521031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4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18" name="object 2">
            <a:extLst>
              <a:ext uri="{FF2B5EF4-FFF2-40B4-BE49-F238E27FC236}">
                <a16:creationId xmlns:a16="http://schemas.microsoft.com/office/drawing/2014/main" id="{8C39E4CC-CB02-2E42-A5BF-1E07B8E526FF}"/>
              </a:ext>
            </a:extLst>
          </p:cNvPr>
          <p:cNvSpPr/>
          <p:nvPr/>
        </p:nvSpPr>
        <p:spPr>
          <a:xfrm>
            <a:off x="371440" y="981453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5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 spc="-6" baseline="0"/>
          </a:p>
        </p:txBody>
      </p:sp>
      <p:sp>
        <p:nvSpPr>
          <p:cNvPr id="19" name="object 4">
            <a:extLst>
              <a:ext uri="{FF2B5EF4-FFF2-40B4-BE49-F238E27FC236}">
                <a16:creationId xmlns:a16="http://schemas.microsoft.com/office/drawing/2014/main" id="{67A8D81B-9F2E-CC43-970C-D25056A531C7}"/>
              </a:ext>
            </a:extLst>
          </p:cNvPr>
          <p:cNvSpPr/>
          <p:nvPr/>
        </p:nvSpPr>
        <p:spPr>
          <a:xfrm>
            <a:off x="8002090" y="981453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5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CA15B3B0-3924-4040-977E-CF3592326F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5764" y="1316948"/>
            <a:ext cx="3402245" cy="1694655"/>
          </a:xfrm>
        </p:spPr>
        <p:txBody>
          <a:bodyPr tIns="9144" anchor="t"/>
          <a:lstStyle>
            <a:lvl1pPr marL="5544" algn="ctr">
              <a:lnSpc>
                <a:spcPct val="100000"/>
              </a:lnSpc>
              <a:defRPr sz="10974" kern="1200" spc="-6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%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CB87E6-F251-A049-9C59-BD3496C355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79661" y="4147272"/>
            <a:ext cx="3377914" cy="1684531"/>
          </a:xfrm>
        </p:spPr>
        <p:txBody>
          <a:bodyPr tIns="9144" anchor="t">
            <a:noAutofit/>
          </a:bodyPr>
          <a:lstStyle>
            <a:lvl1pPr marL="5544">
              <a:lnSpc>
                <a:spcPts val="6051"/>
              </a:lnSpc>
              <a:defRPr sz="600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ighlight phras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975924-3337-DC45-A059-6916F5829F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6900" y="1114530"/>
            <a:ext cx="1554403" cy="315726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E563CE52-0B2A-FC45-9BA3-B228D53434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5475" y="3676289"/>
            <a:ext cx="1557283" cy="315726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6" name="Text Placeholder 3">
            <a:extLst>
              <a:ext uri="{FF2B5EF4-FFF2-40B4-BE49-F238E27FC236}">
                <a16:creationId xmlns:a16="http://schemas.microsoft.com/office/drawing/2014/main" id="{23B0CCAE-3E3E-524A-9978-45E0360424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79661" y="1114531"/>
            <a:ext cx="1529955" cy="315726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7" name="Text Placeholder 3">
            <a:extLst>
              <a:ext uri="{FF2B5EF4-FFF2-40B4-BE49-F238E27FC236}">
                <a16:creationId xmlns:a16="http://schemas.microsoft.com/office/drawing/2014/main" id="{991E0909-7CF2-C847-9F00-BEB6C298BE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9661" y="3676289"/>
            <a:ext cx="1529955" cy="315726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51CE83B5-6886-844E-8EFD-166FD9A10C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82760" y="3676289"/>
            <a:ext cx="1554563" cy="315726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99160EDD-353C-D041-809C-866103654C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82760" y="1114532"/>
            <a:ext cx="1554563" cy="315725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AB40A94C-1AD3-ED46-BF7B-8D97FF59728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21" name="Holder 6">
            <a:extLst>
              <a:ext uri="{FF2B5EF4-FFF2-40B4-BE49-F238E27FC236}">
                <a16:creationId xmlns:a16="http://schemas.microsoft.com/office/drawing/2014/main" id="{793E7CA8-1AFA-2047-94FE-E8ADCA55773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1C64CB8-A19B-BF4A-B330-559305A4F7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189433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1">
          <p15:clr>
            <a:srgbClr val="FBAE40"/>
          </p15:clr>
        </p15:guide>
        <p15:guide id="4" orient="horz" pos="6301">
          <p15:clr>
            <a:srgbClr val="FBAE40"/>
          </p15:clr>
        </p15:guide>
        <p15:guide id="12" orient="horz" pos="3648">
          <p15:clr>
            <a:srgbClr val="FBAE40"/>
          </p15:clr>
        </p15:guide>
        <p15:guide id="13" orient="horz" pos="6538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 AES Internal [Char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1439" y="975908"/>
            <a:ext cx="3690219" cy="1026498"/>
          </a:xfrm>
        </p:spPr>
        <p:txBody>
          <a:bodyPr>
            <a:normAutofit/>
          </a:bodyPr>
          <a:lstStyle>
            <a:lvl1pPr>
              <a:lnSpc>
                <a:spcPts val="4002"/>
              </a:lnSpc>
              <a:spcBef>
                <a:spcPts val="0"/>
              </a:spcBef>
              <a:defRPr sz="4244" kern="1200" spc="-6" baseline="0"/>
            </a:lvl1pPr>
          </a:lstStyle>
          <a:p>
            <a:r>
              <a:rPr lang="en-US"/>
              <a:t>Pag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4" name="Picture 13" descr="A picture containing wheel&#10;&#10;Description automatically generated">
            <a:extLst>
              <a:ext uri="{FF2B5EF4-FFF2-40B4-BE49-F238E27FC236}">
                <a16:creationId xmlns:a16="http://schemas.microsoft.com/office/drawing/2014/main" id="{FA964E1C-29FE-CC47-AD3A-9F6F12CBCB7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014ADE9-D192-B443-A631-7EE356D847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237225"/>
            <a:ext cx="3680647" cy="404518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Holder 6">
            <a:extLst>
              <a:ext uri="{FF2B5EF4-FFF2-40B4-BE49-F238E27FC236}">
                <a16:creationId xmlns:a16="http://schemas.microsoft.com/office/drawing/2014/main" id="{9123438D-25A5-E341-B9D0-74EE24D5DA5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1097475-D7CE-E946-B865-DEE1391C1B2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998585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1">
          <p15:clr>
            <a:srgbClr val="FBAE40"/>
          </p15:clr>
        </p15:guide>
        <p15:guide id="4" orient="horz" pos="6519">
          <p15:clr>
            <a:srgbClr val="FBAE40"/>
          </p15:clr>
        </p15:guide>
        <p15:guide id="13" orient="horz" pos="2314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6" orient="horz" pos="5786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ES Blank [Titl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2" name="Picture 11" descr="A picture containing wheel&#10;&#10;Description automatically generated">
            <a:extLst>
              <a:ext uri="{FF2B5EF4-FFF2-40B4-BE49-F238E27FC236}">
                <a16:creationId xmlns:a16="http://schemas.microsoft.com/office/drawing/2014/main" id="{67A925F8-EBE1-4249-9A7E-7FDA35B61A6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8" name="Holder 6">
            <a:extLst>
              <a:ext uri="{FF2B5EF4-FFF2-40B4-BE49-F238E27FC236}">
                <a16:creationId xmlns:a16="http://schemas.microsoft.com/office/drawing/2014/main" id="{81AC0B4F-7AC3-D943-B8AE-E303B1AE318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C64D398-A79C-3046-976A-2D14BB72387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5501545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1">
          <p15:clr>
            <a:srgbClr val="FBAE40"/>
          </p15:clr>
        </p15:guide>
        <p15:guide id="4" orient="horz" pos="6519">
          <p15:clr>
            <a:srgbClr val="FBAE40"/>
          </p15:clr>
        </p15:guide>
        <p15:guide id="6" pos="12284">
          <p15:clr>
            <a:srgbClr val="FBAE40"/>
          </p15:clr>
        </p15:guide>
        <p15:guide id="8" pos="380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5" orient="horz" pos="298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ES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wheel&#10;&#10;Description automatically generated">
            <a:extLst>
              <a:ext uri="{FF2B5EF4-FFF2-40B4-BE49-F238E27FC236}">
                <a16:creationId xmlns:a16="http://schemas.microsoft.com/office/drawing/2014/main" id="{1C0F1BE0-4A07-B049-8D29-D7C34331BCC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6" name="Holder 6">
            <a:extLst>
              <a:ext uri="{FF2B5EF4-FFF2-40B4-BE49-F238E27FC236}">
                <a16:creationId xmlns:a16="http://schemas.microsoft.com/office/drawing/2014/main" id="{7F736837-DE79-BC4B-90D8-BD4D8AC3695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673D6CF-4FA7-3346-8EC0-4EF729DD6F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0881405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6" pos="12284">
          <p15:clr>
            <a:srgbClr val="FBAE40"/>
          </p15:clr>
        </p15:guide>
        <p15:guide id="12" orient="horz" pos="2986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ES Blank [Gray]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wheel&#10;&#10;Description automatically generated">
            <a:extLst>
              <a:ext uri="{FF2B5EF4-FFF2-40B4-BE49-F238E27FC236}">
                <a16:creationId xmlns:a16="http://schemas.microsoft.com/office/drawing/2014/main" id="{1C0F1BE0-4A07-B049-8D29-D7C34331BCC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6" name="Holder 6">
            <a:extLst>
              <a:ext uri="{FF2B5EF4-FFF2-40B4-BE49-F238E27FC236}">
                <a16:creationId xmlns:a16="http://schemas.microsoft.com/office/drawing/2014/main" id="{7F736837-DE79-BC4B-90D8-BD4D8AC3695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673D6CF-4FA7-3346-8EC0-4EF729DD6F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69941352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6" pos="12284">
          <p15:clr>
            <a:srgbClr val="FBAE40"/>
          </p15:clr>
        </p15:guide>
        <p15:guide id="12" orient="horz" pos="2986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7" y="0"/>
            <a:ext cx="12175090" cy="6858000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 bwMode="auto">
          <a:xfrm>
            <a:off x="-61646" y="0"/>
            <a:ext cx="9746559" cy="6858000"/>
          </a:xfrm>
          <a:prstGeom prst="rect">
            <a:avLst/>
          </a:prstGeom>
          <a:gradFill>
            <a:gsLst>
              <a:gs pos="76000">
                <a:schemeClr val="accent2">
                  <a:alpha val="0"/>
                </a:schemeClr>
              </a:gs>
              <a:gs pos="0">
                <a:schemeClr val="accent2">
                  <a:alpha val="50000"/>
                </a:schemeClr>
              </a:gs>
            </a:gsLst>
            <a:lin ang="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ES" b="1" dirty="0">
              <a:solidFill>
                <a:schemeClr val="bg1"/>
              </a:solidFill>
            </a:endParaRPr>
          </a:p>
        </p:txBody>
      </p:sp>
      <p:sp>
        <p:nvSpPr>
          <p:cNvPr id="5" name="Rectángulo 4"/>
          <p:cNvSpPr/>
          <p:nvPr/>
        </p:nvSpPr>
        <p:spPr bwMode="auto">
          <a:xfrm>
            <a:off x="-61646" y="0"/>
            <a:ext cx="12250472" cy="6858000"/>
          </a:xfrm>
          <a:prstGeom prst="rect">
            <a:avLst/>
          </a:prstGeom>
          <a:gradFill>
            <a:gsLst>
              <a:gs pos="100000">
                <a:schemeClr val="tx2"/>
              </a:gs>
              <a:gs pos="0">
                <a:schemeClr val="tx2">
                  <a:alpha val="0"/>
                </a:schemeClr>
              </a:gs>
            </a:gsLst>
            <a:lin ang="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E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439714"/>
      </p:ext>
    </p:extLst>
  </p:cSld>
  <p:clrMapOvr>
    <a:masterClrMapping/>
  </p:clrMapOvr>
  <p:hf hdr="0" ftr="0" dt="0"/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0 AES Internal [3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1950352"/>
            <a:ext cx="3690219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6454" y="1950352"/>
            <a:ext cx="3695917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32864" y="1950352"/>
            <a:ext cx="3690219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C1BE46A8-5E78-D540-B7A4-A3ABB3FA14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1385658-B7C9-D440-949B-D94D13F175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739196"/>
            <a:ext cx="3690219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AEE4267-A41A-5140-83CE-41FEC571290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39447" y="2739196"/>
            <a:ext cx="3695917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62572B3-F251-1D45-8BFA-4003EE28528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8850" y="2739196"/>
            <a:ext cx="3690220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9" name="Picture 18" descr="Logo&#10;&#10;Description automatically generated">
            <a:extLst>
              <a:ext uri="{FF2B5EF4-FFF2-40B4-BE49-F238E27FC236}">
                <a16:creationId xmlns:a16="http://schemas.microsoft.com/office/drawing/2014/main" id="{E3FDC1D7-6003-4BEE-9F02-8FE1CB002B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92" y="6278817"/>
            <a:ext cx="968253" cy="23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192302"/>
      </p:ext>
    </p:extLst>
  </p:cSld>
  <p:clrMapOvr>
    <a:masterClrMapping/>
  </p:clrMapOvr>
  <p:transition>
    <p:wipe/>
  </p:transition>
  <p:extLst>
    <p:ext uri="{DCECCB84-F9BA-43D5-87BE-67443E8EF086}">
      <p15:sldGuideLst xmlns:p15="http://schemas.microsoft.com/office/powerpoint/2012/main">
        <p15:guide id="4" orient="horz" pos="6519">
          <p15:clr>
            <a:srgbClr val="FBAE40"/>
          </p15:clr>
        </p15:guide>
        <p15:guide id="12" orient="horz" pos="2026">
          <p15:clr>
            <a:srgbClr val="FBAE40"/>
          </p15:clr>
        </p15:guide>
        <p15:guide id="13" orient="horz" pos="2842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7" orient="horz" pos="643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930C73D-2C76-2646-9320-A63D9AAED991}" type="datetimeFigureOut">
              <a:rPr lang="es-ES_tradnl" smtClean="0"/>
              <a:t>04/07/2023</a:t>
            </a:fld>
            <a:endParaRPr lang="es-ES_tradnl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_tradnl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9C786A6-73F1-9E45-96F5-82D199045295}" type="slidenum">
              <a:rPr lang="es-ES_tradnl" smtClean="0"/>
              <a:t>‹Nº›</a:t>
            </a:fld>
            <a:endParaRPr lang="es-ES_tradnl"/>
          </a:p>
        </p:txBody>
      </p:sp>
    </p:spTree>
    <p:extLst>
      <p:ext uri="{BB962C8B-B14F-4D97-AF65-F5344CB8AC3E}">
        <p14:creationId xmlns:p14="http://schemas.microsoft.com/office/powerpoint/2010/main" val="1082191702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EA57179-286D-9A49-B903-36471AE34F6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39" y="5417397"/>
            <a:ext cx="11451644" cy="120767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40" y="379289"/>
            <a:ext cx="11445946" cy="513248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5544">
              <a:lnSpc>
                <a:spcPts val="19996"/>
              </a:lnSpc>
              <a:spcBef>
                <a:spcPts val="4059"/>
              </a:spcBef>
              <a:defRPr sz="19978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Large </a:t>
            </a:r>
            <a:br>
              <a:rPr lang="en-US"/>
            </a:br>
            <a:r>
              <a:rPr lang="en-US"/>
              <a:t>title</a:t>
            </a:r>
            <a:endParaRPr/>
          </a:p>
        </p:txBody>
      </p:sp>
      <p:pic>
        <p:nvPicPr>
          <p:cNvPr id="4" name="Picture 3" descr="A picture containing wheel&#10;&#10;Description automatically generated">
            <a:extLst>
              <a:ext uri="{FF2B5EF4-FFF2-40B4-BE49-F238E27FC236}">
                <a16:creationId xmlns:a16="http://schemas.microsoft.com/office/drawing/2014/main" id="{FFEF52C9-3B92-2747-AAA3-60EC8621094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064" y="5883835"/>
            <a:ext cx="1546741" cy="60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7457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</p15:sldGuideLst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EA57179-286D-9A49-B903-36471AE34F6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39" y="5417397"/>
            <a:ext cx="11451644" cy="120767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40" y="517912"/>
            <a:ext cx="11445946" cy="513248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5544">
              <a:lnSpc>
                <a:spcPts val="10004"/>
              </a:lnSpc>
              <a:spcBef>
                <a:spcPts val="4059"/>
              </a:spcBef>
              <a:defRPr sz="10004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Medium </a:t>
            </a:r>
            <a:br>
              <a:rPr lang="en-US"/>
            </a:br>
            <a:r>
              <a:rPr lang="en-US"/>
              <a:t>title</a:t>
            </a:r>
            <a:endParaRPr/>
          </a:p>
        </p:txBody>
      </p:sp>
      <p:pic>
        <p:nvPicPr>
          <p:cNvPr id="4" name="Picture 3" descr="A picture containing wheel&#10;&#10;Description automatically generated">
            <a:extLst>
              <a:ext uri="{FF2B5EF4-FFF2-40B4-BE49-F238E27FC236}">
                <a16:creationId xmlns:a16="http://schemas.microsoft.com/office/drawing/2014/main" id="{FFEF52C9-3B92-2747-AAA3-60EC8621094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064" y="5883835"/>
            <a:ext cx="1546741" cy="60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29695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7D77FE0C-2B42-7E49-890F-6743794687E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27166" y="382600"/>
            <a:ext cx="2700715" cy="1497131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2EE2625-BEEF-7E46-B852-B0D6DBFE5A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36074" y="1990630"/>
            <a:ext cx="4845347" cy="447475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181802" y="5345312"/>
            <a:ext cx="2516129" cy="382604"/>
          </a:xfrm>
        </p:spPr>
        <p:txBody>
          <a:bodyPr tIns="0">
            <a:noAutofit/>
          </a:bodyPr>
          <a:lstStyle>
            <a:lvl1pPr marL="0">
              <a:spcBef>
                <a:spcPts val="364"/>
              </a:spcBef>
              <a:defRPr sz="1940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latin typeface="Arial" charset="0"/>
                <a:ea typeface="Arial" charset="0"/>
                <a:cs typeface="Arial" charset="0"/>
              </a:defRPr>
            </a:lvl2pPr>
            <a:lvl3pPr>
              <a:defRPr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Introductory statemen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49023" y="701527"/>
            <a:ext cx="2633341" cy="648124"/>
          </a:xfrm>
        </p:spPr>
        <p:txBody>
          <a:bodyPr tIns="0">
            <a:noAutofit/>
          </a:bodyPr>
          <a:lstStyle>
            <a:lvl1pPr marL="0">
              <a:spcBef>
                <a:spcPts val="0"/>
              </a:spcBef>
              <a:defRPr sz="1940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latin typeface="Arial" charset="0"/>
                <a:ea typeface="Arial" charset="0"/>
                <a:cs typeface="Arial" charset="0"/>
              </a:defRPr>
            </a:lvl2pPr>
            <a:lvl3pPr>
              <a:defRPr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Date</a:t>
            </a:r>
          </a:p>
          <a:p>
            <a:pPr lvl="0"/>
            <a:r>
              <a:rPr lang="en-US"/>
              <a:t>Subhead</a:t>
            </a: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7151599" y="2809798"/>
            <a:ext cx="3572329" cy="196901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7700" marR="3080">
              <a:lnSpc>
                <a:spcPts val="4996"/>
              </a:lnSpc>
              <a:spcBef>
                <a:spcPts val="1061"/>
              </a:spcBef>
              <a:defRPr sz="5002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 marR="5080">
              <a:lnSpc>
                <a:spcPts val="8240"/>
              </a:lnSpc>
              <a:spcBef>
                <a:spcPts val="1750"/>
              </a:spcBef>
            </a:pPr>
            <a:r>
              <a:rPr lang="en-US" sz="5002" spc="-6">
                <a:solidFill>
                  <a:srgbClr val="010202"/>
                </a:solidFill>
                <a:latin typeface="Arial"/>
                <a:cs typeface="Arial"/>
              </a:rPr>
              <a:t>Presentation Title</a:t>
            </a:r>
            <a:endParaRPr lang="en-US" sz="5002">
              <a:latin typeface="Arial"/>
              <a:cs typeface="Arial"/>
            </a:endParaRPr>
          </a:p>
        </p:txBody>
      </p:sp>
      <p:sp>
        <p:nvSpPr>
          <p:cNvPr id="9" name="Holder 6">
            <a:extLst>
              <a:ext uri="{FF2B5EF4-FFF2-40B4-BE49-F238E27FC236}">
                <a16:creationId xmlns:a16="http://schemas.microsoft.com/office/drawing/2014/main" id="{5A099B78-E026-A84A-A699-B48505E5F37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650991" y="382600"/>
            <a:ext cx="172092" cy="933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60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9096D72-14E6-8047-8A10-918A2F0D0B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40" y="1874186"/>
            <a:ext cx="11481365" cy="121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53403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  <p15:guide id="9" pos="6428">
          <p15:clr>
            <a:srgbClr val="FBAE40"/>
          </p15:clr>
        </p15:guide>
        <p15:guide id="10" pos="8444">
          <p15:clr>
            <a:srgbClr val="FBAE40"/>
          </p15:clr>
        </p15:guide>
        <p15:guide id="12" orient="horz" pos="2938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93E22AF4-9ECA-6848-B9C1-E3B07771CE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57760" y="931548"/>
            <a:ext cx="3682041" cy="257839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320D3A8-6E16-594B-9E2B-8C22FF2D0D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626384"/>
            <a:ext cx="7157760" cy="32326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341618" y="869073"/>
            <a:ext cx="3686677" cy="196901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7700" marR="3080">
              <a:lnSpc>
                <a:spcPts val="4996"/>
              </a:lnSpc>
              <a:spcBef>
                <a:spcPts val="1061"/>
              </a:spcBef>
              <a:defRPr sz="5002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 marR="5080">
              <a:lnSpc>
                <a:spcPts val="8240"/>
              </a:lnSpc>
              <a:spcBef>
                <a:spcPts val="1750"/>
              </a:spcBef>
            </a:pPr>
            <a:r>
              <a:rPr lang="en-US" sz="5002" spc="-3"/>
              <a:t>Title with </a:t>
            </a:r>
            <a:r>
              <a:rPr lang="en-US" sz="5002" spc="-6">
                <a:solidFill>
                  <a:srgbClr val="1DA84A"/>
                </a:solidFill>
              </a:rPr>
              <a:t>green and </a:t>
            </a:r>
            <a:br>
              <a:rPr lang="en-US" sz="5002" spc="-6">
                <a:solidFill>
                  <a:srgbClr val="1DA84A"/>
                </a:solidFill>
              </a:rPr>
            </a:br>
            <a:r>
              <a:rPr lang="en-US" sz="5002" spc="-3"/>
              <a:t>black text</a:t>
            </a:r>
            <a:endParaRPr lang="en-US" sz="5002">
              <a:latin typeface="Arial"/>
              <a:cs typeface="Arial"/>
            </a:endParaRPr>
          </a:p>
        </p:txBody>
      </p:sp>
      <p:pic>
        <p:nvPicPr>
          <p:cNvPr id="20" name="Picture 19" descr="A picture containing wheel&#10;&#10;Description automatically generated">
            <a:extLst>
              <a:ext uri="{FF2B5EF4-FFF2-40B4-BE49-F238E27FC236}">
                <a16:creationId xmlns:a16="http://schemas.microsoft.com/office/drawing/2014/main" id="{41653854-ECE0-3B41-B714-2E91B5CE645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064" y="5883835"/>
            <a:ext cx="1546741" cy="6034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531BB61-330E-8141-9C04-2EA05B2DA452}"/>
              </a:ext>
            </a:extLst>
          </p:cNvPr>
          <p:cNvSpPr/>
          <p:nvPr/>
        </p:nvSpPr>
        <p:spPr>
          <a:xfrm>
            <a:off x="371439" y="3509941"/>
            <a:ext cx="11451644" cy="116705"/>
          </a:xfrm>
          <a:prstGeom prst="rect">
            <a:avLst/>
          </a:prstGeom>
          <a:gradFill flip="none" rotWithShape="1">
            <a:gsLst>
              <a:gs pos="100000">
                <a:srgbClr val="3250FC"/>
              </a:gs>
              <a:gs pos="70000">
                <a:srgbClr val="9E70FF"/>
              </a:gs>
              <a:gs pos="34000">
                <a:srgbClr val="2ACEEB"/>
              </a:gs>
              <a:gs pos="0">
                <a:srgbClr val="2CBF38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1"/>
          </a:p>
        </p:txBody>
      </p:sp>
      <p:sp>
        <p:nvSpPr>
          <p:cNvPr id="14" name="Holder 6">
            <a:extLst>
              <a:ext uri="{FF2B5EF4-FFF2-40B4-BE49-F238E27FC236}">
                <a16:creationId xmlns:a16="http://schemas.microsoft.com/office/drawing/2014/main" id="{FE7A3AB4-2A5A-BD48-90EC-6D3AFC0757F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650991" y="382600"/>
            <a:ext cx="172092" cy="933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60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5462B46-67AA-6E44-83EF-0BD607BA3A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166" y="4431179"/>
            <a:ext cx="2633341" cy="648124"/>
          </a:xfrm>
        </p:spPr>
        <p:txBody>
          <a:bodyPr tIns="0">
            <a:noAutofit/>
          </a:bodyPr>
          <a:lstStyle>
            <a:lvl1pPr marL="0">
              <a:spcBef>
                <a:spcPts val="0"/>
              </a:spcBef>
              <a:defRPr sz="1940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latin typeface="Arial" charset="0"/>
                <a:ea typeface="Arial" charset="0"/>
                <a:cs typeface="Arial" charset="0"/>
              </a:defRPr>
            </a:lvl2pPr>
            <a:lvl3pPr>
              <a:defRPr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Subhead</a:t>
            </a:r>
          </a:p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0722463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  <p15:guide id="9" pos="6428">
          <p15:clr>
            <a:srgbClr val="FBAE40"/>
          </p15:clr>
        </p15:guide>
        <p15:guide id="10" pos="8444">
          <p15:clr>
            <a:srgbClr val="FBAE40"/>
          </p15:clr>
        </p15:guide>
        <p15:guide id="12" orient="horz" pos="2938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C637C7C-BEE7-064C-9851-9802BDCB89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61944" y="3163391"/>
            <a:ext cx="3690961" cy="248358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94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94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94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7161944" y="1685659"/>
            <a:ext cx="3690961" cy="19862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700" marR="3080">
              <a:lnSpc>
                <a:spcPts val="4996"/>
              </a:lnSpc>
              <a:spcBef>
                <a:spcPts val="1061"/>
              </a:spcBef>
              <a:defRPr sz="5002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 marR="5080">
              <a:lnSpc>
                <a:spcPts val="8240"/>
              </a:lnSpc>
              <a:spcBef>
                <a:spcPts val="1750"/>
              </a:spcBef>
            </a:pPr>
            <a:r>
              <a:rPr lang="en-US" sz="5002" spc="-3"/>
              <a:t>Presentation Title</a:t>
            </a:r>
            <a:endParaRPr lang="en-US" sz="5002">
              <a:latin typeface="Arial"/>
              <a:cs typeface="Arial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3EE9359-C4CF-F045-9C60-D5C9638414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71510"/>
            <a:ext cx="6186810" cy="609179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2" name="Picture 21" descr="A picture containing wheel&#10;&#10;Description automatically generated">
            <a:extLst>
              <a:ext uri="{FF2B5EF4-FFF2-40B4-BE49-F238E27FC236}">
                <a16:creationId xmlns:a16="http://schemas.microsoft.com/office/drawing/2014/main" id="{ED0E0FFB-0640-CA4F-9B26-C32580330BF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064" y="5883835"/>
            <a:ext cx="1546741" cy="603408"/>
          </a:xfrm>
          <a:prstGeom prst="rect">
            <a:avLst/>
          </a:prstGeom>
        </p:spPr>
      </p:pic>
      <p:sp>
        <p:nvSpPr>
          <p:cNvPr id="11" name="Holder 6">
            <a:extLst>
              <a:ext uri="{FF2B5EF4-FFF2-40B4-BE49-F238E27FC236}">
                <a16:creationId xmlns:a16="http://schemas.microsoft.com/office/drawing/2014/main" id="{64A510D6-7281-A34D-9D20-1FEC25FDE74C}"/>
              </a:ext>
            </a:extLst>
          </p:cNvPr>
          <p:cNvSpPr txBox="1">
            <a:spLocks/>
          </p:cNvSpPr>
          <p:nvPr/>
        </p:nvSpPr>
        <p:spPr>
          <a:xfrm>
            <a:off x="11650991" y="382601"/>
            <a:ext cx="172092" cy="932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F15528-21DE-4FAA-801E-634DDDAF4B2B}" type="slidenum">
              <a:rPr lang="en-US" sz="606" smtClean="0"/>
              <a:pPr/>
              <a:t>‹Nº›</a:t>
            </a:fld>
            <a:endParaRPr lang="en-US" sz="606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B4C659-EB9F-A840-A6AD-B59A4B50F9C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56989" y="919342"/>
            <a:ext cx="583262" cy="58337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0263647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  <p15:guide id="12" orient="horz" pos="2938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AES Section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wheel&#10;&#10;Description automatically generated">
            <a:extLst>
              <a:ext uri="{FF2B5EF4-FFF2-40B4-BE49-F238E27FC236}">
                <a16:creationId xmlns:a16="http://schemas.microsoft.com/office/drawing/2014/main" id="{6D06CDE7-47E0-244C-8AA6-E3B37A29AB6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71439" y="2062714"/>
            <a:ext cx="11448102" cy="4124655"/>
          </a:xfrm>
        </p:spPr>
        <p:txBody>
          <a:bodyPr tIns="0"/>
          <a:lstStyle>
            <a:lvl1pPr marL="7700" marR="3080">
              <a:lnSpc>
                <a:spcPts val="5226"/>
              </a:lnSpc>
              <a:spcBef>
                <a:spcPts val="628"/>
              </a:spcBef>
              <a:defRPr sz="4729" kern="1200" spc="-6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12700" marR="5080">
              <a:lnSpc>
                <a:spcPts val="8620"/>
              </a:lnSpc>
              <a:spcBef>
                <a:spcPts val="1035"/>
              </a:spcBef>
            </a:pPr>
            <a:r>
              <a:rPr lang="en-US" sz="4729">
                <a:latin typeface="Arial"/>
                <a:cs typeface="Arial"/>
              </a:rPr>
              <a:t>Overview statement</a:t>
            </a: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39" y="421415"/>
            <a:ext cx="10481466" cy="146027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700" marR="3080">
              <a:lnSpc>
                <a:spcPct val="100000"/>
              </a:lnSpc>
              <a:spcBef>
                <a:spcPts val="69"/>
              </a:spcBef>
              <a:defRPr sz="9489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114"/>
              </a:spcBef>
            </a:pPr>
            <a:r>
              <a:rPr lang="en-US" kern="0"/>
              <a:t>Section Title</a:t>
            </a:r>
          </a:p>
        </p:txBody>
      </p:sp>
      <p:sp>
        <p:nvSpPr>
          <p:cNvPr id="23" name="object 7"/>
          <p:cNvSpPr/>
          <p:nvPr/>
        </p:nvSpPr>
        <p:spPr>
          <a:xfrm>
            <a:off x="11456251" y="6390566"/>
            <a:ext cx="36189" cy="0"/>
          </a:xfrm>
          <a:custGeom>
            <a:avLst/>
            <a:gdLst/>
            <a:ahLst/>
            <a:cxnLst/>
            <a:rect l="l" t="t" r="r" b="b"/>
            <a:pathLst>
              <a:path w="59690">
                <a:moveTo>
                  <a:pt x="59537" y="0"/>
                </a:moveTo>
                <a:lnTo>
                  <a:pt x="0" y="0"/>
                </a:lnTo>
                <a:lnTo>
                  <a:pt x="59537" y="0"/>
                </a:lnTo>
                <a:close/>
              </a:path>
            </a:pathLst>
          </a:custGeom>
          <a:solidFill>
            <a:srgbClr val="8471B3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24" name="object 8"/>
          <p:cNvSpPr/>
          <p:nvPr/>
        </p:nvSpPr>
        <p:spPr>
          <a:xfrm>
            <a:off x="11456251" y="6390566"/>
            <a:ext cx="36189" cy="0"/>
          </a:xfrm>
          <a:custGeom>
            <a:avLst/>
            <a:gdLst/>
            <a:ahLst/>
            <a:cxnLst/>
            <a:rect l="l" t="t" r="r" b="b"/>
            <a:pathLst>
              <a:path w="59690">
                <a:moveTo>
                  <a:pt x="59537" y="0"/>
                </a:moveTo>
                <a:lnTo>
                  <a:pt x="0" y="0"/>
                </a:lnTo>
                <a:lnTo>
                  <a:pt x="59537" y="0"/>
                </a:lnTo>
                <a:close/>
              </a:path>
            </a:pathLst>
          </a:custGeom>
          <a:solidFill>
            <a:srgbClr val="8471B3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2758F6-7CDC-ED49-B135-67289B7D24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2" name="Holder 6">
            <a:extLst>
              <a:ext uri="{FF2B5EF4-FFF2-40B4-BE49-F238E27FC236}">
                <a16:creationId xmlns:a16="http://schemas.microsoft.com/office/drawing/2014/main" id="{BA296ADF-0C87-FC4F-855E-11AE685E82F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113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12" orient="horz" pos="2125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AES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39" y="576673"/>
            <a:ext cx="10481466" cy="72776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700" marR="3080">
              <a:lnSpc>
                <a:spcPct val="100000"/>
              </a:lnSpc>
              <a:spcBef>
                <a:spcPts val="69"/>
              </a:spcBef>
              <a:defRPr sz="4729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114"/>
              </a:spcBef>
            </a:pPr>
            <a:r>
              <a:rPr lang="en-US" kern="0" spc="-3"/>
              <a:t>Section</a:t>
            </a:r>
            <a:r>
              <a:rPr lang="en-US" kern="0" spc="-33"/>
              <a:t> </a:t>
            </a:r>
            <a:r>
              <a:rPr lang="en-US" kern="0"/>
              <a:t>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1439" y="1678462"/>
            <a:ext cx="11451644" cy="3886694"/>
          </a:xfrm>
        </p:spPr>
        <p:txBody>
          <a:bodyPr tIns="365760"/>
          <a:lstStyle>
            <a:lvl1pPr marL="5544" marR="0" indent="0" defTabSz="554401" eaLnBrk="1" fontAlgn="auto" latinLnBrk="0" hangingPunct="1">
              <a:lnSpc>
                <a:spcPts val="9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489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 sz="9489">
                <a:latin typeface="Arial" charset="0"/>
                <a:ea typeface="Arial" charset="0"/>
                <a:cs typeface="Arial" charset="0"/>
              </a:defRPr>
            </a:lvl2pPr>
            <a:lvl3pPr>
              <a:defRPr sz="9489">
                <a:latin typeface="Arial" charset="0"/>
                <a:ea typeface="Arial" charset="0"/>
                <a:cs typeface="Arial" charset="0"/>
              </a:defRPr>
            </a:lvl3pPr>
            <a:lvl4pPr>
              <a:defRPr sz="9489">
                <a:latin typeface="Arial" charset="0"/>
                <a:ea typeface="Arial" charset="0"/>
                <a:cs typeface="Arial" charset="0"/>
              </a:defRPr>
            </a:lvl4pPr>
            <a:lvl5pPr>
              <a:defRPr sz="9489">
                <a:latin typeface="Arial" charset="0"/>
                <a:ea typeface="Arial" charset="0"/>
                <a:cs typeface="Arial" charset="0"/>
              </a:defRPr>
            </a:lvl5pPr>
          </a:lstStyle>
          <a:p>
            <a:pPr marL="0" marR="0" lvl="0" indent="0" defTabSz="554401" eaLnBrk="1" fontAlgn="auto" latinLnBrk="0" hangingPunct="1">
              <a:lnSpc>
                <a:spcPts val="9500"/>
              </a:lnSpc>
              <a:spcBef>
                <a:spcPts val="19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489" spc="-24">
                <a:solidFill>
                  <a:srgbClr val="010202"/>
                </a:solidFill>
                <a:latin typeface="Arial"/>
                <a:cs typeface="Arial"/>
              </a:rPr>
              <a:t>Overview statement</a:t>
            </a:r>
            <a:endParaRPr lang="en-US" sz="9489">
              <a:latin typeface="Arial"/>
              <a:cs typeface="Arial"/>
            </a:endParaRPr>
          </a:p>
        </p:txBody>
      </p:sp>
      <p:pic>
        <p:nvPicPr>
          <p:cNvPr id="15" name="Picture 14" descr="A picture containing wheel&#10;&#10;Description automatically generated">
            <a:extLst>
              <a:ext uri="{FF2B5EF4-FFF2-40B4-BE49-F238E27FC236}">
                <a16:creationId xmlns:a16="http://schemas.microsoft.com/office/drawing/2014/main" id="{0FDCDEAA-5702-DA4A-B940-CFB90503E4F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B97702A-63B0-BD47-8A38-B17413BB265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40" y="1502676"/>
            <a:ext cx="11425926" cy="120496"/>
          </a:xfrm>
          <a:prstGeom prst="rect">
            <a:avLst/>
          </a:prstGeom>
        </p:spPr>
      </p:pic>
      <p:sp>
        <p:nvSpPr>
          <p:cNvPr id="9" name="Holder 6">
            <a:extLst>
              <a:ext uri="{FF2B5EF4-FFF2-40B4-BE49-F238E27FC236}">
                <a16:creationId xmlns:a16="http://schemas.microsoft.com/office/drawing/2014/main" id="{CD501E8A-F006-3A41-9AEF-F30A4223718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9E90806-CF1D-1C44-A4E2-C638EF8186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5972648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12" orient="horz" pos="1738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A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1439" y="425497"/>
            <a:ext cx="10481466" cy="5845280"/>
          </a:xfrm>
        </p:spPr>
        <p:txBody>
          <a:bodyPr tIns="411480">
            <a:normAutofit/>
          </a:bodyPr>
          <a:lstStyle>
            <a:lvl1pPr marL="7700" marR="3080" indent="1113036" defTabSz="554401" eaLnBrk="1" fontAlgn="auto" latinLnBrk="0" hangingPunct="1">
              <a:lnSpc>
                <a:spcPts val="9500"/>
              </a:lnSpc>
              <a:spcBef>
                <a:spcPts val="1958"/>
              </a:spcBef>
              <a:spcAft>
                <a:spcPts val="0"/>
              </a:spcAft>
              <a:buClrTx/>
              <a:buSzTx/>
              <a:buFontTx/>
              <a:buNone/>
              <a:tabLst/>
              <a:defRPr sz="9458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 sz="9489">
                <a:latin typeface="Arial" charset="0"/>
                <a:ea typeface="Arial" charset="0"/>
                <a:cs typeface="Arial" charset="0"/>
              </a:defRPr>
            </a:lvl2pPr>
            <a:lvl3pPr>
              <a:defRPr sz="9489">
                <a:latin typeface="Arial" charset="0"/>
                <a:ea typeface="Arial" charset="0"/>
                <a:cs typeface="Arial" charset="0"/>
              </a:defRPr>
            </a:lvl3pPr>
            <a:lvl4pPr>
              <a:defRPr sz="9489">
                <a:latin typeface="Arial" charset="0"/>
                <a:ea typeface="Arial" charset="0"/>
                <a:cs typeface="Arial" charset="0"/>
              </a:defRPr>
            </a:lvl4pPr>
            <a:lvl5pPr>
              <a:defRPr sz="9489">
                <a:latin typeface="Arial" charset="0"/>
                <a:ea typeface="Arial" charset="0"/>
                <a:cs typeface="Arial" charset="0"/>
              </a:defRPr>
            </a:lvl5pPr>
          </a:lstStyle>
          <a:p>
            <a:pPr marL="12700" marR="5080" indent="1835785">
              <a:lnSpc>
                <a:spcPts val="15669"/>
              </a:lnSpc>
              <a:spcBef>
                <a:spcPts val="3229"/>
              </a:spcBef>
            </a:pPr>
            <a:r>
              <a:rPr lang="en-US" sz="9489">
                <a:solidFill>
                  <a:srgbClr val="010202"/>
                </a:solidFill>
                <a:latin typeface="Arial"/>
                <a:cs typeface="Arial"/>
              </a:rPr>
              <a:t>Statement</a:t>
            </a:r>
            <a:endParaRPr lang="en-US" sz="9489">
              <a:latin typeface="Arial"/>
              <a:cs typeface="Arial"/>
            </a:endParaRPr>
          </a:p>
        </p:txBody>
      </p:sp>
      <p:sp>
        <p:nvSpPr>
          <p:cNvPr id="17" name="object 4"/>
          <p:cNvSpPr/>
          <p:nvPr/>
        </p:nvSpPr>
        <p:spPr>
          <a:xfrm>
            <a:off x="9406662" y="4617207"/>
            <a:ext cx="1277909" cy="642287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1"/>
          </a:p>
        </p:txBody>
      </p:sp>
      <p:pic>
        <p:nvPicPr>
          <p:cNvPr id="14" name="Picture 13" descr="A picture containing wheel&#10;&#10;Description automatically generated">
            <a:extLst>
              <a:ext uri="{FF2B5EF4-FFF2-40B4-BE49-F238E27FC236}">
                <a16:creationId xmlns:a16="http://schemas.microsoft.com/office/drawing/2014/main" id="{4F60CC4A-3204-0A4F-88C9-7347EA77FE1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E9DD4A45-1A06-F546-993C-EF0BD6378E4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42" y="765279"/>
            <a:ext cx="738791" cy="876099"/>
          </a:xfrm>
          <a:prstGeom prst="rect">
            <a:avLst/>
          </a:prstGeom>
        </p:spPr>
      </p:pic>
      <p:sp>
        <p:nvSpPr>
          <p:cNvPr id="9" name="Holder 6">
            <a:extLst>
              <a:ext uri="{FF2B5EF4-FFF2-40B4-BE49-F238E27FC236}">
                <a16:creationId xmlns:a16="http://schemas.microsoft.com/office/drawing/2014/main" id="{34FE868D-0380-B540-BB8F-223B6C8B6CA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1001D29-735C-FF4A-963A-07A38CAB1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5070245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7" y="0"/>
            <a:ext cx="12175090" cy="6858000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 bwMode="auto">
          <a:xfrm>
            <a:off x="6868" y="0"/>
            <a:ext cx="12181958" cy="6858000"/>
          </a:xfrm>
          <a:prstGeom prst="rect">
            <a:avLst/>
          </a:prstGeom>
          <a:gradFill>
            <a:gsLst>
              <a:gs pos="100000">
                <a:schemeClr val="tx2">
                  <a:alpha val="65000"/>
                </a:schemeClr>
              </a:gs>
              <a:gs pos="0">
                <a:schemeClr val="tx2">
                  <a:alpha val="25000"/>
                </a:schemeClr>
              </a:gs>
            </a:gsLst>
            <a:lin ang="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E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3909306"/>
      </p:ext>
    </p:extLst>
  </p:cSld>
  <p:clrMapOvr>
    <a:masterClrMapping/>
  </p:clrMapOvr>
  <p:hf hdr="0" ftr="0" dt="0"/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A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1439" y="425497"/>
            <a:ext cx="10481466" cy="5135600"/>
          </a:xfrm>
        </p:spPr>
        <p:txBody>
          <a:bodyPr tIns="411480">
            <a:normAutofit/>
          </a:bodyPr>
          <a:lstStyle>
            <a:lvl1pPr marL="7700" marR="3080" indent="0" defTabSz="554401" eaLnBrk="1" fontAlgn="auto" latinLnBrk="0" hangingPunct="1">
              <a:lnSpc>
                <a:spcPts val="9500"/>
              </a:lnSpc>
              <a:spcBef>
                <a:spcPts val="1958"/>
              </a:spcBef>
              <a:spcAft>
                <a:spcPts val="0"/>
              </a:spcAft>
              <a:buClrTx/>
              <a:buSzTx/>
              <a:buFontTx/>
              <a:buNone/>
              <a:tabLst/>
              <a:defRPr sz="9458" kern="1200" spc="-6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9489">
                <a:latin typeface="Arial" charset="0"/>
                <a:ea typeface="Arial" charset="0"/>
                <a:cs typeface="Arial" charset="0"/>
              </a:defRPr>
            </a:lvl2pPr>
            <a:lvl3pPr>
              <a:defRPr sz="9489">
                <a:latin typeface="Arial" charset="0"/>
                <a:ea typeface="Arial" charset="0"/>
                <a:cs typeface="Arial" charset="0"/>
              </a:defRPr>
            </a:lvl3pPr>
            <a:lvl4pPr>
              <a:defRPr sz="9489">
                <a:latin typeface="Arial" charset="0"/>
                <a:ea typeface="Arial" charset="0"/>
                <a:cs typeface="Arial" charset="0"/>
              </a:defRPr>
            </a:lvl4pPr>
            <a:lvl5pPr>
              <a:defRPr sz="9489">
                <a:latin typeface="Arial" charset="0"/>
                <a:ea typeface="Arial" charset="0"/>
                <a:cs typeface="Arial" charset="0"/>
              </a:defRPr>
            </a:lvl5pPr>
          </a:lstStyle>
          <a:p>
            <a:pPr marL="12700" marR="5080">
              <a:lnSpc>
                <a:spcPts val="15669"/>
              </a:lnSpc>
              <a:spcBef>
                <a:spcPts val="3229"/>
              </a:spcBef>
            </a:pPr>
            <a:r>
              <a:rPr lang="en-US" sz="9489">
                <a:latin typeface="Arial"/>
                <a:cs typeface="Arial"/>
              </a:rPr>
              <a:t>Statement</a:t>
            </a:r>
          </a:p>
          <a:p>
            <a:pPr marL="12700" marR="5080">
              <a:lnSpc>
                <a:spcPts val="15669"/>
              </a:lnSpc>
              <a:spcBef>
                <a:spcPts val="3229"/>
              </a:spcBef>
            </a:pPr>
            <a:endParaRPr lang="en-US" sz="9489">
              <a:latin typeface="Arial"/>
              <a:cs typeface="Arial"/>
            </a:endParaRPr>
          </a:p>
          <a:p>
            <a:pPr marL="12700" marR="5080">
              <a:lnSpc>
                <a:spcPts val="15669"/>
              </a:lnSpc>
              <a:spcBef>
                <a:spcPts val="3229"/>
              </a:spcBef>
            </a:pPr>
            <a:endParaRPr lang="en-US" sz="9489">
              <a:latin typeface="Arial"/>
              <a:cs typeface="Arial"/>
            </a:endParaRPr>
          </a:p>
        </p:txBody>
      </p:sp>
      <p:pic>
        <p:nvPicPr>
          <p:cNvPr id="12" name="Picture 11" descr="A picture containing wheel&#10;&#10;Description automatically generated">
            <a:extLst>
              <a:ext uri="{FF2B5EF4-FFF2-40B4-BE49-F238E27FC236}">
                <a16:creationId xmlns:a16="http://schemas.microsoft.com/office/drawing/2014/main" id="{64E6C3E9-4207-9249-B0F7-90978B29CE2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8" name="Holder 6">
            <a:extLst>
              <a:ext uri="{FF2B5EF4-FFF2-40B4-BE49-F238E27FC236}">
                <a16:creationId xmlns:a16="http://schemas.microsoft.com/office/drawing/2014/main" id="{C758FB5D-0EF0-7A41-882B-E8017C9071C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0BB4385-9AF5-6142-985D-5B8685801A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205557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11" pos="11276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ES Thank You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39" y="426960"/>
            <a:ext cx="10481466" cy="1473930"/>
          </a:xfrm>
          <a:prstGeom prst="rect">
            <a:avLst/>
          </a:prstGeom>
        </p:spPr>
        <p:txBody>
          <a:bodyPr wrap="square" lIns="0" tIns="18288" rIns="0" bIns="0" anchor="t">
            <a:spAutoFit/>
          </a:bodyPr>
          <a:lstStyle>
            <a:lvl1pPr marL="7700" marR="3080">
              <a:lnSpc>
                <a:spcPct val="100000"/>
              </a:lnSpc>
              <a:spcBef>
                <a:spcPts val="69"/>
              </a:spcBef>
              <a:defRPr sz="9458" b="0" i="0" kern="1200" spc="24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114"/>
              </a:spcBef>
            </a:pPr>
            <a:r>
              <a:rPr lang="en-US" kern="0" spc="-3"/>
              <a:t>Thank you.</a:t>
            </a:r>
            <a:endParaRPr lang="en-US" kern="0"/>
          </a:p>
        </p:txBody>
      </p:sp>
      <p:pic>
        <p:nvPicPr>
          <p:cNvPr id="12" name="Picture 11" descr="A picture containing wheel&#10;&#10;Description automatically generated">
            <a:extLst>
              <a:ext uri="{FF2B5EF4-FFF2-40B4-BE49-F238E27FC236}">
                <a16:creationId xmlns:a16="http://schemas.microsoft.com/office/drawing/2014/main" id="{C8D6DC13-9230-FA47-A8EE-8E45528B933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8" name="Holder 6">
            <a:extLst>
              <a:ext uri="{FF2B5EF4-FFF2-40B4-BE49-F238E27FC236}">
                <a16:creationId xmlns:a16="http://schemas.microsoft.com/office/drawing/2014/main" id="{A34F3BBE-0388-8142-88D9-F9D87E2EDD0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CD9889C-15D4-5E44-AAB7-FBA8FA1916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1764829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AES Internal [Agenda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1950352"/>
            <a:ext cx="3690219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C1BE46A8-5E78-D540-B7A4-A3ABB3FA147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1385658-B7C9-D440-949B-D94D13F175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739196"/>
            <a:ext cx="3690219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Holder 6">
            <a:extLst>
              <a:ext uri="{FF2B5EF4-FFF2-40B4-BE49-F238E27FC236}">
                <a16:creationId xmlns:a16="http://schemas.microsoft.com/office/drawing/2014/main" id="{097D15B3-42A8-6D4C-ABF7-5CA7BA9BCAE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59DAEC1-F79B-5447-9B9D-9E08CD7E64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C23C8094-582E-9C46-97B7-FD2260AABBB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16633" y="2735883"/>
            <a:ext cx="3690219" cy="3539707"/>
          </a:xfrm>
        </p:spPr>
        <p:txBody>
          <a:bodyPr/>
          <a:lstStyle>
            <a:lvl1pPr>
              <a:lnSpc>
                <a:spcPts val="2365"/>
              </a:lnSpc>
              <a:spcBef>
                <a:spcPts val="485"/>
              </a:spcBef>
              <a:spcAft>
                <a:spcPts val="485"/>
              </a:spcAft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1760" indent="-332640">
              <a:lnSpc>
                <a:spcPts val="2365"/>
              </a:lnSpc>
              <a:spcBef>
                <a:spcPts val="485"/>
              </a:spcBef>
              <a:spcAft>
                <a:spcPts val="485"/>
              </a:spcAft>
              <a:buFont typeface="+mj-lt"/>
              <a:buAutoNum type="arabicPeriod"/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7200" indent="-277200">
              <a:spcAft>
                <a:spcPts val="485"/>
              </a:spcAft>
              <a:buFont typeface="System Font Regular"/>
              <a:buChar char="→"/>
              <a:defRPr sz="1455"/>
            </a:lvl4pPr>
            <a:lvl5pPr marL="0">
              <a:spcAft>
                <a:spcPts val="485"/>
              </a:spcAft>
              <a:defRPr sz="1455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84451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519">
          <p15:clr>
            <a:srgbClr val="FBAE40"/>
          </p15:clr>
        </p15:guide>
        <p15:guide id="12" orient="horz" pos="2026">
          <p15:clr>
            <a:srgbClr val="FBAE40"/>
          </p15:clr>
        </p15:guide>
        <p15:guide id="13" orient="horz" pos="2842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7" orient="horz" pos="643">
          <p15:clr>
            <a:srgbClr val="FBAE40"/>
          </p15:clr>
        </p15:guide>
      </p15:sldGuideLst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FFB57AF-F198-8649-8163-E57B45CDF9C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16632" y="381214"/>
            <a:ext cx="6972193" cy="554300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15" name="Picture 14" descr="A picture containing wheel&#10;&#10;Description automatically generated">
            <a:extLst>
              <a:ext uri="{FF2B5EF4-FFF2-40B4-BE49-F238E27FC236}">
                <a16:creationId xmlns:a16="http://schemas.microsoft.com/office/drawing/2014/main" id="{893DFAB9-DC3C-F749-AB19-2C8D1522CC0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F57EE5C5-7F1A-BA4B-A336-879F28A704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39" y="975908"/>
            <a:ext cx="3690219" cy="1026498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spcBef>
                <a:spcPts val="858"/>
              </a:spcBef>
              <a:defRPr sz="4244" kern="1200" spc="-6" baseline="0"/>
            </a:lvl1pPr>
          </a:lstStyle>
          <a:p>
            <a:r>
              <a:rPr lang="en-US"/>
              <a:t>Page 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EDCA175-78DC-024C-B777-F738F319FF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237225"/>
            <a:ext cx="3680647" cy="365811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Holder 6">
            <a:extLst>
              <a:ext uri="{FF2B5EF4-FFF2-40B4-BE49-F238E27FC236}">
                <a16:creationId xmlns:a16="http://schemas.microsoft.com/office/drawing/2014/main" id="{68105A6C-8942-264B-A101-3CC7EE365C4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1F28457-D9B6-0447-87CB-810932507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2627403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4">
          <p15:clr>
            <a:srgbClr val="FBAE40"/>
          </p15:clr>
        </p15:guide>
        <p15:guide id="12" orient="horz" pos="6154">
          <p15:clr>
            <a:srgbClr val="FBAE40"/>
          </p15:clr>
        </p15:guide>
        <p15:guide id="13" orient="horz" pos="2314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95D7368-0A17-1B47-8586-4BA40EA7B47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68230" y="381214"/>
            <a:ext cx="5031065" cy="55141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8" name="object 2"/>
          <p:cNvSpPr/>
          <p:nvPr/>
        </p:nvSpPr>
        <p:spPr>
          <a:xfrm>
            <a:off x="0" y="4191428"/>
            <a:ext cx="12188825" cy="2666957"/>
          </a:xfrm>
          <a:custGeom>
            <a:avLst/>
            <a:gdLst/>
            <a:ahLst/>
            <a:cxnLst/>
            <a:rect l="l" t="t" r="r" b="b"/>
            <a:pathLst>
              <a:path w="20104100" h="4398009">
                <a:moveTo>
                  <a:pt x="0" y="4397771"/>
                </a:moveTo>
                <a:lnTo>
                  <a:pt x="20104099" y="4397771"/>
                </a:lnTo>
                <a:lnTo>
                  <a:pt x="20104099" y="0"/>
                </a:lnTo>
                <a:lnTo>
                  <a:pt x="0" y="0"/>
                </a:lnTo>
                <a:lnTo>
                  <a:pt x="0" y="4397771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4251730" y="5506116"/>
            <a:ext cx="1750284" cy="615899"/>
          </a:xfrm>
        </p:spPr>
        <p:txBody>
          <a:bodyPr>
            <a:noAutofit/>
          </a:bodyPr>
          <a:lstStyle>
            <a:lvl1pPr>
              <a:defRPr sz="1455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Column three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2317340" y="5508349"/>
            <a:ext cx="1750283" cy="615899"/>
          </a:xfrm>
        </p:spPr>
        <p:txBody>
          <a:bodyPr>
            <a:noAutofit/>
          </a:bodyPr>
          <a:lstStyle>
            <a:lvl1pPr>
              <a:defRPr sz="1455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Column two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71440" y="4646651"/>
            <a:ext cx="2724474" cy="615899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3201" y="975908"/>
            <a:ext cx="5628812" cy="513249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spcBef>
                <a:spcPts val="858"/>
              </a:spcBef>
              <a:defRPr sz="4244" kern="1200" spc="-6" baseline="0"/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181953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40" y="1597510"/>
            <a:ext cx="2724474" cy="2348120"/>
          </a:xfrm>
        </p:spPr>
        <p:txBody>
          <a:bodyPr tIns="182880">
            <a:noAutofit/>
          </a:bodyPr>
          <a:lstStyle>
            <a:lvl1pPr>
              <a:lnSpc>
                <a:spcPts val="2365"/>
              </a:lnSpc>
              <a:spcBef>
                <a:spcPts val="0"/>
              </a:spcBef>
              <a:spcAft>
                <a:spcPts val="1091"/>
              </a:spcAft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Column one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1" y="1597510"/>
            <a:ext cx="2724474" cy="2348120"/>
          </a:xfrm>
        </p:spPr>
        <p:txBody>
          <a:bodyPr tIns="182880">
            <a:noAutofit/>
          </a:bodyPr>
          <a:lstStyle>
            <a:lvl1pPr>
              <a:lnSpc>
                <a:spcPts val="2365"/>
              </a:lnSpc>
              <a:spcBef>
                <a:spcPts val="0"/>
              </a:spcBef>
              <a:spcAft>
                <a:spcPts val="1091"/>
              </a:spcAft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Column two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71439" y="5502702"/>
            <a:ext cx="1749863" cy="615899"/>
          </a:xfrm>
        </p:spPr>
        <p:txBody>
          <a:bodyPr>
            <a:noAutofit/>
          </a:bodyPr>
          <a:lstStyle>
            <a:lvl1pPr>
              <a:defRPr sz="1455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Column on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75C7DE60-CC46-8D47-A06A-2B17A0419C0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16" name="Holder 6">
            <a:extLst>
              <a:ext uri="{FF2B5EF4-FFF2-40B4-BE49-F238E27FC236}">
                <a16:creationId xmlns:a16="http://schemas.microsoft.com/office/drawing/2014/main" id="{9EA350B0-E587-5F4D-8F8F-31EF6CA405CB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9D22C19-5712-F940-AFBD-5A6CCAB10E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722293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4">
          <p15:clr>
            <a:srgbClr val="FBAE40"/>
          </p15:clr>
        </p15:guide>
        <p15:guide id="10" pos="7436">
          <p15:clr>
            <a:srgbClr val="FBAE40"/>
          </p15:clr>
        </p15:guide>
        <p15:guide id="11" pos="11276">
          <p15:clr>
            <a:srgbClr val="FBAE40"/>
          </p15:clr>
        </p15:guide>
        <p15:guide id="12" orient="horz" pos="1642">
          <p15:clr>
            <a:srgbClr val="FBAE40"/>
          </p15:clr>
        </p15:guide>
        <p15:guide id="13" orient="horz" pos="6124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6" orient="horz" pos="298">
          <p15:clr>
            <a:srgbClr val="FBAE40"/>
          </p15:clr>
        </p15:guide>
      </p15:sldGuideLst>
    </p:ext>
  </p:extLs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C0AB3C0-200B-4B4B-B0F1-ABA44ADFE0A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86964" y="3720648"/>
            <a:ext cx="4651311" cy="238986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BE7DE52-1254-6249-ABAD-E525EA4DFF9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093482" y="3726193"/>
            <a:ext cx="1936246" cy="182428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7EBCB3D6-4D60-F14F-A0AF-3114855D24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52152" y="1968450"/>
            <a:ext cx="1934812" cy="164684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0E2EB56-7CED-7348-A58E-88E7CF5EF7B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937093"/>
            <a:ext cx="3094368" cy="267820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162686" y="937093"/>
            <a:ext cx="3692221" cy="895853"/>
          </a:xfrm>
        </p:spPr>
        <p:txBody>
          <a:bodyPr tIns="64008">
            <a:noAutofit/>
          </a:bodyPr>
          <a:lstStyle>
            <a:lvl1pPr>
              <a:lnSpc>
                <a:spcPct val="100000"/>
              </a:lnSpc>
              <a:spcBef>
                <a:spcPts val="298"/>
              </a:spcBef>
              <a:defRPr sz="2122" kern="1200" spc="-6" baseline="0"/>
            </a:lvl1pPr>
          </a:lstStyle>
          <a:p>
            <a:r>
              <a:rPr lang="en-US"/>
              <a:t>Two line </a:t>
            </a:r>
            <a:br>
              <a:rPr lang="en-US"/>
            </a:br>
            <a:r>
              <a:rPr lang="en-US"/>
              <a:t>page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181953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71439" y="4585656"/>
            <a:ext cx="1746321" cy="931548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1455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Image caption and/or tertiary information</a:t>
            </a:r>
          </a:p>
        </p:txBody>
      </p:sp>
      <p:pic>
        <p:nvPicPr>
          <p:cNvPr id="35" name="Picture 34" descr="A picture containing wheel&#10;&#10;Description automatically generated">
            <a:extLst>
              <a:ext uri="{FF2B5EF4-FFF2-40B4-BE49-F238E27FC236}">
                <a16:creationId xmlns:a16="http://schemas.microsoft.com/office/drawing/2014/main" id="{1139A26F-B067-D84F-A4E0-49B6F789055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197B536-B691-7446-9D91-744D726F3EB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40" y="3609750"/>
            <a:ext cx="11425926" cy="120496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E93359D-A64B-0D4B-B53C-424638ED95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62686" y="2095715"/>
            <a:ext cx="3692221" cy="89585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Holder 6">
            <a:extLst>
              <a:ext uri="{FF2B5EF4-FFF2-40B4-BE49-F238E27FC236}">
                <a16:creationId xmlns:a16="http://schemas.microsoft.com/office/drawing/2014/main" id="{3B0BEF5E-2804-4342-9630-9585A1E7994F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8DAE40B-6A7E-4042-9CBF-AA75ECF5588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532020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4">
          <p15:clr>
            <a:srgbClr val="FBAE40"/>
          </p15:clr>
        </p15:guide>
        <p15:guide id="13" orient="horz" pos="2177">
          <p15:clr>
            <a:srgbClr val="FBAE40"/>
          </p15:clr>
        </p15:guide>
        <p15:guide id="14" orient="horz" pos="970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C1FF589E-7E61-B747-A809-3BF6FE1AD92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39" y="931548"/>
            <a:ext cx="11451644" cy="120767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FC26BD-B34C-064A-95F7-17557B653C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71440" y="1230974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181953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26" name="Picture 25" descr="A picture containing wheel&#10;&#10;Description automatically generated">
            <a:extLst>
              <a:ext uri="{FF2B5EF4-FFF2-40B4-BE49-F238E27FC236}">
                <a16:creationId xmlns:a16="http://schemas.microsoft.com/office/drawing/2014/main" id="{33A47EFD-824B-AA4A-9E96-1787953BB3F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46C1DB38-126E-C546-A53C-0B564AED3AC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54924" y="1230974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6E03029A-3CB6-BD47-89E5-172273E6D19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38409" y="1230974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3" name="Picture Placeholder 4">
            <a:extLst>
              <a:ext uri="{FF2B5EF4-FFF2-40B4-BE49-F238E27FC236}">
                <a16:creationId xmlns:a16="http://schemas.microsoft.com/office/drawing/2014/main" id="{8425C69D-1918-D549-9100-570B7AB92A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71440" y="3670743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9497CC5A-7566-1C48-B5D5-683A9DEF7B4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54924" y="3670743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68E12BCF-FF9A-7546-953A-CDD97377D8B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38409" y="3670743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3EB5216-7CF5-AC4C-A29A-EEB163E428FB}"/>
              </a:ext>
            </a:extLst>
          </p:cNvPr>
          <p:cNvGrpSpPr/>
          <p:nvPr/>
        </p:nvGrpSpPr>
        <p:grpSpPr>
          <a:xfrm>
            <a:off x="4053882" y="887574"/>
            <a:ext cx="4077135" cy="199647"/>
            <a:chOff x="6686423" y="1463675"/>
            <a:chExt cx="6724777" cy="32923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F0919B2-E0D4-C244-A945-9728349D1673}"/>
                </a:ext>
              </a:extLst>
            </p:cNvPr>
            <p:cNvSpPr/>
            <p:nvPr/>
          </p:nvSpPr>
          <p:spPr>
            <a:xfrm>
              <a:off x="13085763" y="1463675"/>
              <a:ext cx="325437" cy="3047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91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BD08769-5B71-F64F-BC54-9D2BF8212A8C}"/>
                </a:ext>
              </a:extLst>
            </p:cNvPr>
            <p:cNvSpPr/>
            <p:nvPr/>
          </p:nvSpPr>
          <p:spPr>
            <a:xfrm>
              <a:off x="6686423" y="1488109"/>
              <a:ext cx="325437" cy="3047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91"/>
            </a:p>
          </p:txBody>
        </p:sp>
      </p:grpSp>
      <p:sp>
        <p:nvSpPr>
          <p:cNvPr id="17" name="Holder 6">
            <a:extLst>
              <a:ext uri="{FF2B5EF4-FFF2-40B4-BE49-F238E27FC236}">
                <a16:creationId xmlns:a16="http://schemas.microsoft.com/office/drawing/2014/main" id="{273E81E8-10A1-4E4E-AA42-786546C9CB9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247CA37A-0B71-1946-9121-C831D8C981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1344502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139">
          <p15:clr>
            <a:srgbClr val="FBAE40"/>
          </p15:clr>
        </p15:guide>
        <p15:guide id="12" orient="horz" pos="1271">
          <p15:clr>
            <a:srgbClr val="FBAE40"/>
          </p15:clr>
        </p15:guide>
        <p15:guide id="13" orient="horz" pos="3802">
          <p15:clr>
            <a:srgbClr val="FBAE40"/>
          </p15:clr>
        </p15:guide>
        <p15:guide id="14" orient="horz" pos="1085">
          <p15:clr>
            <a:srgbClr val="FBAE40"/>
          </p15:clr>
        </p15:guide>
        <p15:guide id="15" orient="horz" pos="6514">
          <p15:clr>
            <a:srgbClr val="FBAE40"/>
          </p15:clr>
        </p15:guide>
        <p15:guide id="16" orient="horz" pos="3600">
          <p15:clr>
            <a:srgbClr val="FBAE40"/>
          </p15:clr>
        </p15:guide>
        <p15:guide id="17" orient="horz" pos="643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181953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14" name="Picture 13" descr="A picture containing wheel&#10;&#10;Description automatically generated">
            <a:extLst>
              <a:ext uri="{FF2B5EF4-FFF2-40B4-BE49-F238E27FC236}">
                <a16:creationId xmlns:a16="http://schemas.microsoft.com/office/drawing/2014/main" id="{2AC7F684-2439-AD47-A936-BAEC54FFB61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1DF996A-4428-A844-ADA2-56775069BED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553470" y="618992"/>
            <a:ext cx="5984059" cy="598519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Holder 6">
            <a:extLst>
              <a:ext uri="{FF2B5EF4-FFF2-40B4-BE49-F238E27FC236}">
                <a16:creationId xmlns:a16="http://schemas.microsoft.com/office/drawing/2014/main" id="{6AB7BBD9-9766-3146-8122-C9C6E3F7A5B1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FF3E4F-7019-B342-BF26-AF5C2C11FD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16A64FD4-81E8-DA47-A7DC-84CECB1266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3201" y="975908"/>
            <a:ext cx="5628812" cy="513249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spcBef>
                <a:spcPts val="858"/>
              </a:spcBef>
              <a:defRPr sz="4244" kern="1200" spc="-6" baseline="0"/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1233990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2">
            <a:extLst>
              <a:ext uri="{FF2B5EF4-FFF2-40B4-BE49-F238E27FC236}">
                <a16:creationId xmlns:a16="http://schemas.microsoft.com/office/drawing/2014/main" id="{791688A6-CF45-7449-9CB2-A24896AFBAC5}"/>
              </a:ext>
            </a:extLst>
          </p:cNvPr>
          <p:cNvSpPr/>
          <p:nvPr/>
        </p:nvSpPr>
        <p:spPr>
          <a:xfrm>
            <a:off x="5223142" y="385"/>
            <a:ext cx="6966033" cy="6857615"/>
          </a:xfrm>
          <a:custGeom>
            <a:avLst/>
            <a:gdLst/>
            <a:ahLst/>
            <a:cxnLst/>
            <a:rect l="l" t="t" r="r" b="b"/>
            <a:pathLst>
              <a:path w="11489690" h="11308715">
                <a:moveTo>
                  <a:pt x="0" y="11308556"/>
                </a:moveTo>
                <a:lnTo>
                  <a:pt x="11489178" y="11308556"/>
                </a:lnTo>
                <a:lnTo>
                  <a:pt x="11489178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3201" y="975908"/>
            <a:ext cx="3688457" cy="1026498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spcBef>
                <a:spcPts val="0"/>
              </a:spcBef>
              <a:defRPr sz="4244" kern="1200" spc="-6" baseline="0"/>
            </a:lvl1pPr>
          </a:lstStyle>
          <a:p>
            <a:r>
              <a:rPr lang="en-US"/>
              <a:t>Pag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88379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3551FB62-DBA4-F947-B9F2-3141E9F1047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84CD10-14F1-4C4A-B3C8-DAA6EA25BA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1439" y="2225673"/>
            <a:ext cx="3695917" cy="4049917"/>
          </a:xfrm>
        </p:spPr>
        <p:txBody>
          <a:bodyPr/>
          <a:lstStyle>
            <a:lvl1pPr>
              <a:lnSpc>
                <a:spcPts val="2365"/>
              </a:lnSpc>
              <a:spcBef>
                <a:spcPts val="485"/>
              </a:spcBef>
              <a:spcAft>
                <a:spcPts val="485"/>
              </a:spcAft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lnSpc>
                <a:spcPts val="2365"/>
              </a:lnSpc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7200" indent="-277200">
              <a:spcAft>
                <a:spcPts val="485"/>
              </a:spcAft>
              <a:buFont typeface="System Font Regular"/>
              <a:buChar char="→"/>
              <a:defRPr sz="1455"/>
            </a:lvl4pPr>
            <a:lvl5pPr marL="0">
              <a:spcAft>
                <a:spcPts val="485"/>
              </a:spcAft>
              <a:defRPr sz="1455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E2E6038-721A-CE45-850C-F99F94440DD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94510" y="989616"/>
            <a:ext cx="4658395" cy="438010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Holder 6">
            <a:extLst>
              <a:ext uri="{FF2B5EF4-FFF2-40B4-BE49-F238E27FC236}">
                <a16:creationId xmlns:a16="http://schemas.microsoft.com/office/drawing/2014/main" id="{CEE9BD36-3C6B-FA47-93F9-9F7D70B7DC1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0821BEA-DDFB-B648-A500-7B808FD005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0054275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12" orient="horz" pos="6519">
          <p15:clr>
            <a:srgbClr val="FBAE40"/>
          </p15:clr>
        </p15:guide>
        <p15:guide id="13" orient="horz" pos="2314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AES Internal [2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2">
            <a:extLst>
              <a:ext uri="{FF2B5EF4-FFF2-40B4-BE49-F238E27FC236}">
                <a16:creationId xmlns:a16="http://schemas.microsoft.com/office/drawing/2014/main" id="{791688A6-CF45-7449-9CB2-A24896AFBAC5}"/>
              </a:ext>
            </a:extLst>
          </p:cNvPr>
          <p:cNvSpPr/>
          <p:nvPr/>
        </p:nvSpPr>
        <p:spPr>
          <a:xfrm>
            <a:off x="5309030" y="385"/>
            <a:ext cx="6966033" cy="6857615"/>
          </a:xfrm>
          <a:custGeom>
            <a:avLst/>
            <a:gdLst/>
            <a:ahLst/>
            <a:cxnLst/>
            <a:rect l="l" t="t" r="r" b="b"/>
            <a:pathLst>
              <a:path w="11489690" h="11308715">
                <a:moveTo>
                  <a:pt x="0" y="11308556"/>
                </a:moveTo>
                <a:lnTo>
                  <a:pt x="11489178" y="11308556"/>
                </a:lnTo>
                <a:lnTo>
                  <a:pt x="11489178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3201" y="975908"/>
            <a:ext cx="3688457" cy="1026498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spcBef>
                <a:spcPts val="0"/>
              </a:spcBef>
              <a:defRPr sz="4244" kern="1200" spc="-6" baseline="0"/>
            </a:lvl1pPr>
          </a:lstStyle>
          <a:p>
            <a:r>
              <a:rPr lang="en-US"/>
              <a:t>Pag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88379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3551FB62-DBA4-F947-B9F2-3141E9F1047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84CD10-14F1-4C4A-B3C8-DAA6EA25BA1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39" y="2225673"/>
            <a:ext cx="3695917" cy="4049917"/>
          </a:xfrm>
        </p:spPr>
        <p:txBody>
          <a:bodyPr/>
          <a:lstStyle>
            <a:lvl1pPr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7200" indent="-277200"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Holder 6">
            <a:extLst>
              <a:ext uri="{FF2B5EF4-FFF2-40B4-BE49-F238E27FC236}">
                <a16:creationId xmlns:a16="http://schemas.microsoft.com/office/drawing/2014/main" id="{C95EDC03-31B7-804E-AEDD-359A186FE21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28F73E6-AF80-9445-B5C5-CF00EC51B18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C51953F-3B4D-6245-AF7D-7B91EFDE28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92185" y="2220860"/>
            <a:ext cx="3695917" cy="4049917"/>
          </a:xfrm>
        </p:spPr>
        <p:txBody>
          <a:bodyPr/>
          <a:lstStyle>
            <a:lvl1pPr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7200" indent="-277200"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526106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12" orient="horz" pos="6519">
          <p15:clr>
            <a:srgbClr val="FBAE40"/>
          </p15:clr>
        </p15:guide>
        <p15:guide id="13" orient="horz" pos="2314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418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ángulo 3"/>
          <p:cNvSpPr/>
          <p:nvPr userDrawn="1"/>
        </p:nvSpPr>
        <p:spPr bwMode="auto">
          <a:xfrm>
            <a:off x="0" y="3462376"/>
            <a:ext cx="12191999" cy="3397802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540000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  <p:sp>
        <p:nvSpPr>
          <p:cNvPr id="2" name="Rectángulo 1"/>
          <p:cNvSpPr/>
          <p:nvPr userDrawn="1"/>
        </p:nvSpPr>
        <p:spPr bwMode="auto">
          <a:xfrm rot="10800000">
            <a:off x="-1" y="0"/>
            <a:ext cx="12192000" cy="6857998"/>
          </a:xfrm>
          <a:prstGeom prst="rect">
            <a:avLst/>
          </a:prstGeom>
          <a:gradFill>
            <a:gsLst>
              <a:gs pos="35000">
                <a:schemeClr val="bg1"/>
              </a:gs>
              <a:gs pos="100000">
                <a:schemeClr val="bg1">
                  <a:alpha val="50000"/>
                </a:schemeClr>
              </a:gs>
            </a:gsLst>
            <a:lin ang="5400000" scaled="1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4301305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 AES Internal [2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2">
            <a:extLst>
              <a:ext uri="{FF2B5EF4-FFF2-40B4-BE49-F238E27FC236}">
                <a16:creationId xmlns:a16="http://schemas.microsoft.com/office/drawing/2014/main" id="{791688A6-CF45-7449-9CB2-A24896AFBAC5}"/>
              </a:ext>
            </a:extLst>
          </p:cNvPr>
          <p:cNvSpPr/>
          <p:nvPr/>
        </p:nvSpPr>
        <p:spPr>
          <a:xfrm>
            <a:off x="5221514" y="0"/>
            <a:ext cx="6966033" cy="6857615"/>
          </a:xfrm>
          <a:custGeom>
            <a:avLst/>
            <a:gdLst/>
            <a:ahLst/>
            <a:cxnLst/>
            <a:rect l="l" t="t" r="r" b="b"/>
            <a:pathLst>
              <a:path w="11489690" h="11308715">
                <a:moveTo>
                  <a:pt x="0" y="11308556"/>
                </a:moveTo>
                <a:lnTo>
                  <a:pt x="11489178" y="11308556"/>
                </a:lnTo>
                <a:lnTo>
                  <a:pt x="11489178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5" name="Picture 14" descr="A picture containing wheel&#10;&#10;Description automatically generated">
            <a:extLst>
              <a:ext uri="{FF2B5EF4-FFF2-40B4-BE49-F238E27FC236}">
                <a16:creationId xmlns:a16="http://schemas.microsoft.com/office/drawing/2014/main" id="{7525D4D8-0C2C-4740-92DB-9F85C07F0D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B4CF491-4EFB-084D-A61D-19BB5F745B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9284" y="975908"/>
            <a:ext cx="4662553" cy="5285897"/>
          </a:xfrm>
        </p:spPr>
        <p:txBody>
          <a:bodyPr>
            <a:normAutofit/>
          </a:bodyPr>
          <a:lstStyle>
            <a:lvl1pPr marL="0" indent="0">
              <a:lnSpc>
                <a:spcPts val="4002"/>
              </a:lnSpc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4244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lnSpc>
                <a:spcPct val="100000"/>
              </a:lnSpc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lang="en-US" sz="1455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>
              <a:defRPr lang="en-US" sz="1455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>
              <a:defRPr lang="en-US" sz="1455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0" lvl="2">
              <a:spcAft>
                <a:spcPts val="485"/>
              </a:spcAft>
            </a:pPr>
            <a:r>
              <a:rPr lang="en-US"/>
              <a:t>Third level</a:t>
            </a:r>
          </a:p>
          <a:p>
            <a:pPr marL="277200" lvl="3" indent="-277200">
              <a:spcAft>
                <a:spcPts val="485"/>
              </a:spcAft>
              <a:buFont typeface="System Font Regular"/>
              <a:buChar char="→"/>
            </a:pPr>
            <a:r>
              <a:rPr lang="en-US"/>
              <a:t>Fourth level</a:t>
            </a:r>
          </a:p>
          <a:p>
            <a:pPr marL="0" lvl="4">
              <a:spcAft>
                <a:spcPts val="485"/>
              </a:spcAft>
            </a:pPr>
            <a:r>
              <a:rPr lang="en-US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83CE846-9DEF-F54D-B67D-F1527206089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1693" y="975908"/>
            <a:ext cx="4661212" cy="529952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-44352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lang="en-US" sz="1455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>
              <a:spcAft>
                <a:spcPts val="485"/>
              </a:spcAft>
              <a:buFont typeface="System Font Regular"/>
              <a:defRPr lang="en-US" sz="1455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>
              <a:defRPr lang="en-US" sz="1455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0" lvl="2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</a:pPr>
            <a:r>
              <a:rPr lang="en-US"/>
              <a:t>Third level</a:t>
            </a:r>
          </a:p>
          <a:p>
            <a:pPr marL="277200" lvl="3" indent="-277200">
              <a:spcAft>
                <a:spcPts val="485"/>
              </a:spcAft>
              <a:buFont typeface="System Font Regular"/>
              <a:buChar char="→"/>
            </a:pPr>
            <a:r>
              <a:rPr lang="en-US"/>
              <a:t>Fourth level</a:t>
            </a:r>
          </a:p>
          <a:p>
            <a:pPr marL="0" lvl="4">
              <a:spcAft>
                <a:spcPts val="485"/>
              </a:spcAft>
            </a:pPr>
            <a:r>
              <a:rPr lang="en-US"/>
              <a:t>Fifth level</a:t>
            </a:r>
          </a:p>
        </p:txBody>
      </p:sp>
      <p:sp>
        <p:nvSpPr>
          <p:cNvPr id="12" name="Holder 6">
            <a:extLst>
              <a:ext uri="{FF2B5EF4-FFF2-40B4-BE49-F238E27FC236}">
                <a16:creationId xmlns:a16="http://schemas.microsoft.com/office/drawing/2014/main" id="{5568332A-3C71-D54E-B118-FE100A550DC1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6FB4913-1BE1-2E46-929D-DB8BDFE78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7277809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4" orient="horz" pos="1021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 AES Internal [3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1950352"/>
            <a:ext cx="3690219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6454" y="1950352"/>
            <a:ext cx="3695917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32864" y="1950352"/>
            <a:ext cx="3690219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C1BE46A8-5E78-D540-B7A4-A3ABB3FA147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1385658-B7C9-D440-949B-D94D13F175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739196"/>
            <a:ext cx="3690219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AEE4267-A41A-5140-83CE-41FEC571290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39447" y="2739196"/>
            <a:ext cx="3695917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62572B3-F251-1D45-8BFA-4003EE28528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8850" y="2739196"/>
            <a:ext cx="3690220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Holder 6">
            <a:extLst>
              <a:ext uri="{FF2B5EF4-FFF2-40B4-BE49-F238E27FC236}">
                <a16:creationId xmlns:a16="http://schemas.microsoft.com/office/drawing/2014/main" id="{097D15B3-42A8-6D4C-ABF7-5CA7BA9BCAE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59DAEC1-F79B-5447-9B9D-9E08CD7E64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3754652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519">
          <p15:clr>
            <a:srgbClr val="FBAE40"/>
          </p15:clr>
        </p15:guide>
        <p15:guide id="12" orient="horz" pos="2026">
          <p15:clr>
            <a:srgbClr val="FBAE40"/>
          </p15:clr>
        </p15:guide>
        <p15:guide id="13" orient="horz" pos="2842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7" orient="horz" pos="643">
          <p15:clr>
            <a:srgbClr val="FBAE40"/>
          </p15:clr>
        </p15:guide>
      </p15:sldGuideLst>
    </p:ext>
  </p:extLs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 AES Internal [3 Column 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14529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4036709"/>
            <a:ext cx="3690219" cy="621498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6454" y="4036709"/>
            <a:ext cx="3695917" cy="621498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27166" y="4036709"/>
            <a:ext cx="3695917" cy="621498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pic>
        <p:nvPicPr>
          <p:cNvPr id="18" name="Picture 17" descr="A picture containing wheel&#10;&#10;Description automatically generated">
            <a:extLst>
              <a:ext uri="{FF2B5EF4-FFF2-40B4-BE49-F238E27FC236}">
                <a16:creationId xmlns:a16="http://schemas.microsoft.com/office/drawing/2014/main" id="{C2157615-D9F9-6940-8E15-578A5562F2E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CC0ECDD-BAC6-C443-B041-A212411416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4907648"/>
            <a:ext cx="3690219" cy="137125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C45F515-B6F2-2B42-A0E4-EF5C046384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21469" y="4907648"/>
            <a:ext cx="3695917" cy="137125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EE0980D-BC13-8F42-956B-E113FBFB24C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43606" y="4907648"/>
            <a:ext cx="3695917" cy="137125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06A6E82-1007-3046-9A83-7E172C222A9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742" y="979990"/>
            <a:ext cx="3695917" cy="286488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A919393-093C-F948-B8CB-0314CBC5A7C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246454" y="979990"/>
            <a:ext cx="3695917" cy="286488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9449791-FEF1-D843-BAEC-4498C148369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7166" y="979990"/>
            <a:ext cx="3695917" cy="286488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Holder 6">
            <a:extLst>
              <a:ext uri="{FF2B5EF4-FFF2-40B4-BE49-F238E27FC236}">
                <a16:creationId xmlns:a16="http://schemas.microsoft.com/office/drawing/2014/main" id="{A8425E57-4C38-AD4D-A99A-FFF14F177D4C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83B4DCA-1D25-D441-88B5-74DD837EC8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3449828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3" orient="horz" pos="5098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6" orient="horz" pos="4186">
          <p15:clr>
            <a:srgbClr val="FBAE40"/>
          </p15:clr>
        </p15:guide>
      </p15:sldGuideLst>
    </p:ext>
  </p:extLs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 AES Internal [4 Column 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/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3216060"/>
            <a:ext cx="2720041" cy="518848"/>
          </a:xfrm>
        </p:spPr>
        <p:txBody>
          <a:bodyPr tIns="9144">
            <a:normAutofit/>
          </a:bodyPr>
          <a:lstStyle>
            <a:lvl1pPr marL="0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1218" y="3216060"/>
            <a:ext cx="2720040" cy="518848"/>
          </a:xfrm>
        </p:spPr>
        <p:txBody>
          <a:bodyPr tIns="9144">
            <a:normAutofit/>
          </a:bodyPr>
          <a:lstStyle>
            <a:lvl1pPr marL="0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01196" y="3216060"/>
            <a:ext cx="2720040" cy="518848"/>
          </a:xfrm>
        </p:spPr>
        <p:txBody>
          <a:bodyPr tIns="9144">
            <a:normAutofit/>
          </a:bodyPr>
          <a:lstStyle>
            <a:lvl1pPr marL="0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A76F70D-96D0-104C-A023-D33CFDD6D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77569" y="3216060"/>
            <a:ext cx="2720040" cy="518848"/>
          </a:xfrm>
        </p:spPr>
        <p:txBody>
          <a:bodyPr tIns="9144">
            <a:normAutofit/>
          </a:bodyPr>
          <a:lstStyle>
            <a:lvl1pPr marL="0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58" name="Picture 57" descr="A picture containing wheel&#10;&#10;Description automatically generated">
            <a:extLst>
              <a:ext uri="{FF2B5EF4-FFF2-40B4-BE49-F238E27FC236}">
                <a16:creationId xmlns:a16="http://schemas.microsoft.com/office/drawing/2014/main" id="{C45FBAE5-9C69-3D4D-8D0B-EB30E418B76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F17BD89D-839A-7F43-BFE4-3C3D5BC838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3470" y="3992350"/>
            <a:ext cx="2717740" cy="229209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33812876-F3D0-BF4A-ABF9-0D0626AF4A5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77112" y="3992350"/>
            <a:ext cx="2717740" cy="229209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A0301BE8-9C73-E74B-9FBD-9CB850EE381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8267" y="3992350"/>
            <a:ext cx="2717740" cy="229209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65512032-830E-4547-A341-F62A78C8D2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5754" y="3992350"/>
            <a:ext cx="2717740" cy="229209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6EC01602-C819-B34F-9755-15789967040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742" y="979989"/>
            <a:ext cx="2717740" cy="197862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9A26958C-B51A-144D-BBBB-32201A2BDD5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276276" y="979989"/>
            <a:ext cx="2717740" cy="197862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8D8F022D-5556-254C-A105-8AB0AD2A5F9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186811" y="979989"/>
            <a:ext cx="2717740" cy="197862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6AB2F741-53F4-BE48-A8FC-622B74F6625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097345" y="979989"/>
            <a:ext cx="2717740" cy="197862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Holder 6">
            <a:extLst>
              <a:ext uri="{FF2B5EF4-FFF2-40B4-BE49-F238E27FC236}">
                <a16:creationId xmlns:a16="http://schemas.microsoft.com/office/drawing/2014/main" id="{AD7DD2E0-71A1-1D4E-9B38-473F805C0EE4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14B79C3-514A-814E-B989-A219DC3ADEB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3538393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2" orient="horz" pos="3322">
          <p15:clr>
            <a:srgbClr val="FBAE40"/>
          </p15:clr>
        </p15:guide>
        <p15:guide id="13" orient="horz" pos="4138">
          <p15:clr>
            <a:srgbClr val="FBAE40"/>
          </p15:clr>
        </p15:guide>
        <p15:guide id="14" orient="horz" pos="5603">
          <p15:clr>
            <a:srgbClr val="FBAE40"/>
          </p15:clr>
        </p15:guide>
        <p15:guide id="17" orient="horz" pos="298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 AES Internal [4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6C723557-140B-294B-883B-2674F360C7C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194510" y="4074894"/>
            <a:ext cx="2697865" cy="2190247"/>
          </a:xfrm>
        </p:spPr>
        <p:txBody>
          <a:bodyPr>
            <a:noAutofit/>
          </a:bodyPr>
          <a:lstStyle>
            <a:lvl1pPr marL="443521" indent="-44352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1455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521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sz="145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/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975908"/>
            <a:ext cx="2720041" cy="1032097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wo 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4511" y="975908"/>
            <a:ext cx="2697865" cy="1032097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wo 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97345" y="975908"/>
            <a:ext cx="2722197" cy="1032097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wo line titl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A76F70D-96D0-104C-A023-D33CFDD6D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04150" y="975908"/>
            <a:ext cx="2697865" cy="1032097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wo line title</a:t>
            </a:r>
          </a:p>
        </p:txBody>
      </p:sp>
      <p:pic>
        <p:nvPicPr>
          <p:cNvPr id="41" name="Picture 40" descr="A picture containing wheel&#10;&#10;Description automatically generated">
            <a:extLst>
              <a:ext uri="{FF2B5EF4-FFF2-40B4-BE49-F238E27FC236}">
                <a16:creationId xmlns:a16="http://schemas.microsoft.com/office/drawing/2014/main" id="{58984222-93F8-7048-9ECE-5534D90B02C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DBA9D78-C24E-3542-B126-B9D0417DAE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226636"/>
            <a:ext cx="2720041" cy="157202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E507EFF1-AFB5-6443-9951-68BA6175945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304150" y="2226636"/>
            <a:ext cx="2697865" cy="157202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D9D058CD-3278-2748-B4B3-C06320E484E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94512" y="2226636"/>
            <a:ext cx="2697865" cy="157202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0F275BCE-FC74-0A46-A675-0F617C1130E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97345" y="2226636"/>
            <a:ext cx="2722197" cy="157202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02606580-C414-C44C-B66A-A3091B3247B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04150" y="4074894"/>
            <a:ext cx="2697865" cy="2190247"/>
          </a:xfrm>
        </p:spPr>
        <p:txBody>
          <a:bodyPr>
            <a:noAutofit/>
          </a:bodyPr>
          <a:lstStyle>
            <a:lvl1pPr marL="443521" indent="-44352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1455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521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sz="145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B4EB9E0-49C9-E34E-A023-1A9483B06B8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71439" y="4074894"/>
            <a:ext cx="2720041" cy="2190247"/>
          </a:xfrm>
        </p:spPr>
        <p:txBody>
          <a:bodyPr>
            <a:noAutofit/>
          </a:bodyPr>
          <a:lstStyle>
            <a:lvl1pPr marL="443521" indent="-44352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1455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521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sz="145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90CDAACA-09B9-C346-9A39-627C1D8A901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97345" y="4074894"/>
            <a:ext cx="2722197" cy="2190247"/>
          </a:xfrm>
        </p:spPr>
        <p:txBody>
          <a:bodyPr>
            <a:noAutofit/>
          </a:bodyPr>
          <a:lstStyle>
            <a:lvl1pPr marL="443521" indent="-44352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1455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521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sz="145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Holder 6">
            <a:extLst>
              <a:ext uri="{FF2B5EF4-FFF2-40B4-BE49-F238E27FC236}">
                <a16:creationId xmlns:a16="http://schemas.microsoft.com/office/drawing/2014/main" id="{672AB3D8-585E-B846-AF90-18EE3FECA32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D9DE861A-D6C1-6C4C-A17B-5F1F5338C83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395859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2" orient="horz" pos="4224">
          <p15:clr>
            <a:srgbClr val="FBAE40"/>
          </p15:clr>
        </p15:guide>
        <p15:guide id="13" orient="horz" pos="2313">
          <p15:clr>
            <a:srgbClr val="FBAE40"/>
          </p15:clr>
        </p15:guide>
        <p15:guide id="14" orient="horz" pos="1004">
          <p15:clr>
            <a:srgbClr val="FBAE40"/>
          </p15:clr>
        </p15:guide>
      </p15:sldGuideLst>
    </p:ext>
  </p:extLs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 AES Internal [6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39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942638"/>
            <a:ext cx="3690218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6454" y="942638"/>
            <a:ext cx="3695916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27166" y="942638"/>
            <a:ext cx="3692375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85AE1DE9-C4DC-0747-9E4D-B3297B6A5CF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39" y="3770552"/>
            <a:ext cx="3690218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38B1B4F7-4313-9A48-94FC-A21951398B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46454" y="3770552"/>
            <a:ext cx="3695916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30A0D0DA-ECF4-D546-9966-CE4A8AFD937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27166" y="3770552"/>
            <a:ext cx="3692375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pic>
        <p:nvPicPr>
          <p:cNvPr id="46" name="Picture 45" descr="A picture containing wheel&#10;&#10;Description automatically generated">
            <a:extLst>
              <a:ext uri="{FF2B5EF4-FFF2-40B4-BE49-F238E27FC236}">
                <a16:creationId xmlns:a16="http://schemas.microsoft.com/office/drawing/2014/main" id="{E4223E6B-0F11-0342-8303-C9ED1F40475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CB3DD61E-93BD-3B4E-9A3C-A73A593459B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1439" y="4652196"/>
            <a:ext cx="3690219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273BB677-CF77-3443-83E9-67F96FE1D5B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246454" y="4652196"/>
            <a:ext cx="3695917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85A78AD6-DDEA-B94C-8CDE-8EBD70BE250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7167" y="4652196"/>
            <a:ext cx="3692375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BA4202AB-2831-C540-8D23-D37E42B301D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71439" y="1819241"/>
            <a:ext cx="3690219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F7A92D07-F8E0-BF47-BF8A-45D79F48529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46454" y="1819241"/>
            <a:ext cx="3695917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0790FE8D-1A26-C246-9C82-5A5EFC7F88D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127167" y="1819241"/>
            <a:ext cx="3692375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Holder 6">
            <a:extLst>
              <a:ext uri="{FF2B5EF4-FFF2-40B4-BE49-F238E27FC236}">
                <a16:creationId xmlns:a16="http://schemas.microsoft.com/office/drawing/2014/main" id="{C9635295-E32A-C549-AE56-00BF937C60AB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E28DE288-1D05-1547-B26F-714639A1DF0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191320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490">
          <p15:clr>
            <a:srgbClr val="FBAE40"/>
          </p15:clr>
        </p15:guide>
        <p15:guide id="13" orient="horz" pos="1882">
          <p15:clr>
            <a:srgbClr val="FBAE40"/>
          </p15:clr>
        </p15:guide>
        <p15:guide id="14" orient="horz" pos="970">
          <p15:clr>
            <a:srgbClr val="FBAE40"/>
          </p15:clr>
        </p15:guide>
        <p15:guide id="17" orient="horz" pos="4837">
          <p15:clr>
            <a:srgbClr val="FBAE40"/>
          </p15:clr>
        </p15:guide>
        <p15:guide id="20" orient="horz" pos="3917">
          <p15:clr>
            <a:srgbClr val="FBAE40"/>
          </p15:clr>
        </p15:guide>
        <p15:guide id="21" orient="horz" pos="1611">
          <p15:clr>
            <a:srgbClr val="FBAE40"/>
          </p15:clr>
        </p15:guide>
        <p15:guide id="22" orient="horz" pos="4545">
          <p15:clr>
            <a:srgbClr val="FBAE40"/>
          </p15:clr>
        </p15:guide>
        <p15:guide id="23" orient="horz" pos="643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 AES Internal [6 Grid 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object 9">
            <a:extLst>
              <a:ext uri="{FF2B5EF4-FFF2-40B4-BE49-F238E27FC236}">
                <a16:creationId xmlns:a16="http://schemas.microsoft.com/office/drawing/2014/main" id="{2FB943FF-8B77-BA40-897F-995F9B88CB58}"/>
              </a:ext>
            </a:extLst>
          </p:cNvPr>
          <p:cNvSpPr/>
          <p:nvPr/>
        </p:nvSpPr>
        <p:spPr>
          <a:xfrm>
            <a:off x="4195133" y="3521031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4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8" name="object 2">
            <a:extLst>
              <a:ext uri="{FF2B5EF4-FFF2-40B4-BE49-F238E27FC236}">
                <a16:creationId xmlns:a16="http://schemas.microsoft.com/office/drawing/2014/main" id="{6BB95872-F51B-D049-8879-0CA8E559C6D6}"/>
              </a:ext>
            </a:extLst>
          </p:cNvPr>
          <p:cNvSpPr/>
          <p:nvPr/>
        </p:nvSpPr>
        <p:spPr>
          <a:xfrm>
            <a:off x="371440" y="981453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5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 spc="-6" baseline="0"/>
          </a:p>
        </p:txBody>
      </p:sp>
      <p:sp>
        <p:nvSpPr>
          <p:cNvPr id="60" name="object 4">
            <a:extLst>
              <a:ext uri="{FF2B5EF4-FFF2-40B4-BE49-F238E27FC236}">
                <a16:creationId xmlns:a16="http://schemas.microsoft.com/office/drawing/2014/main" id="{686A7363-E8B5-374F-99FC-667EB0953A7E}"/>
              </a:ext>
            </a:extLst>
          </p:cNvPr>
          <p:cNvSpPr/>
          <p:nvPr/>
        </p:nvSpPr>
        <p:spPr>
          <a:xfrm>
            <a:off x="8002090" y="981453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5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975924-3337-DC45-A059-6916F5829F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6900" y="1114531"/>
            <a:ext cx="1554403" cy="405933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E563CE52-0B2A-FC45-9BA3-B228D53434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5475" y="3676288"/>
            <a:ext cx="1557069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6" name="Text Placeholder 3">
            <a:extLst>
              <a:ext uri="{FF2B5EF4-FFF2-40B4-BE49-F238E27FC236}">
                <a16:creationId xmlns:a16="http://schemas.microsoft.com/office/drawing/2014/main" id="{23B0CCAE-3E3E-524A-9978-45E0360424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79661" y="1114531"/>
            <a:ext cx="1569347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7" name="Text Placeholder 3">
            <a:extLst>
              <a:ext uri="{FF2B5EF4-FFF2-40B4-BE49-F238E27FC236}">
                <a16:creationId xmlns:a16="http://schemas.microsoft.com/office/drawing/2014/main" id="{991E0909-7CF2-C847-9F00-BEB6C298BE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9661" y="3676288"/>
            <a:ext cx="1569347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51CE83B5-6886-844E-8EFD-166FD9A10C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82759" y="3676288"/>
            <a:ext cx="1561371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99160EDD-353C-D041-809C-866103654C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82759" y="1114531"/>
            <a:ext cx="1561371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26" name="Picture 25" descr="A picture containing wheel&#10;&#10;Description automatically generated">
            <a:extLst>
              <a:ext uri="{FF2B5EF4-FFF2-40B4-BE49-F238E27FC236}">
                <a16:creationId xmlns:a16="http://schemas.microsoft.com/office/drawing/2014/main" id="{927658FD-7870-8C4E-B863-4E23D5B7974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E7D16D-77CA-754B-860C-AC3D1719D9F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335920" y="1395859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DA236BD8-75EF-8444-B8AF-7E2EB9FC37B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16633" y="1395859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2D9BD3E9-72E7-C147-A2D4-859F993768B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097345" y="1395859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40E6A6F4-B474-FF42-BACD-1144AAD2FDF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335920" y="3983493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EB16904F-05C4-FB4E-8E41-DC88FF4657A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216633" y="3983493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0CFDD25B-241C-EE4B-99F8-89DA1BAE632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097345" y="3983493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3" name="Holder 6">
            <a:extLst>
              <a:ext uri="{FF2B5EF4-FFF2-40B4-BE49-F238E27FC236}">
                <a16:creationId xmlns:a16="http://schemas.microsoft.com/office/drawing/2014/main" id="{EA485649-022B-3946-8A30-C2DD152AFF58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2450B02-C863-3241-B588-316C0DF9B8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49918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8">
          <p15:clr>
            <a:srgbClr val="FBAE40"/>
          </p15:clr>
        </p15:guide>
        <p15:guide id="4" orient="horz" pos="6519">
          <p15:clr>
            <a:srgbClr val="FBAE40"/>
          </p15:clr>
        </p15:guide>
        <p15:guide id="12" orient="horz" pos="3648">
          <p15:clr>
            <a:srgbClr val="FBAE40"/>
          </p15:clr>
        </p15:guide>
        <p15:guide id="13" orient="horz" pos="6310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5" orient="horz" pos="638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 AES Internal [6 Grid 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26" name="Picture 25" descr="A picture containing wheel&#10;&#10;Description automatically generated">
            <a:extLst>
              <a:ext uri="{FF2B5EF4-FFF2-40B4-BE49-F238E27FC236}">
                <a16:creationId xmlns:a16="http://schemas.microsoft.com/office/drawing/2014/main" id="{927658FD-7870-8C4E-B863-4E23D5B7974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22" name="Holder 6">
            <a:extLst>
              <a:ext uri="{FF2B5EF4-FFF2-40B4-BE49-F238E27FC236}">
                <a16:creationId xmlns:a16="http://schemas.microsoft.com/office/drawing/2014/main" id="{8E1F3504-BD62-B24E-AC65-38655A6B2AD8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6E1CB1-F6A0-D145-B486-3814B7531D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975924-3337-DC45-A059-6916F5829F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7632" y="1114531"/>
            <a:ext cx="1554402" cy="405933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E563CE52-0B2A-FC45-9BA3-B228D53434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6208" y="3676288"/>
            <a:ext cx="1554402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6" name="Text Placeholder 3">
            <a:extLst>
              <a:ext uri="{FF2B5EF4-FFF2-40B4-BE49-F238E27FC236}">
                <a16:creationId xmlns:a16="http://schemas.microsoft.com/office/drawing/2014/main" id="{23B0CCAE-3E3E-524A-9978-45E0360424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6920" y="1114531"/>
            <a:ext cx="1554402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7" name="Text Placeholder 3">
            <a:extLst>
              <a:ext uri="{FF2B5EF4-FFF2-40B4-BE49-F238E27FC236}">
                <a16:creationId xmlns:a16="http://schemas.microsoft.com/office/drawing/2014/main" id="{991E0909-7CF2-C847-9F00-BEB6C298BE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66920" y="3676288"/>
            <a:ext cx="1554402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51CE83B5-6886-844E-8EFD-166FD9A10C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43326" y="3676288"/>
            <a:ext cx="1554402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99160EDD-353C-D041-809C-866103654C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43326" y="1114531"/>
            <a:ext cx="1554402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3033876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519">
          <p15:clr>
            <a:srgbClr val="FBAE40"/>
          </p15:clr>
        </p15:guide>
        <p15:guide id="12" orient="horz" pos="3610">
          <p15:clr>
            <a:srgbClr val="FBAE40"/>
          </p15:clr>
        </p15:guide>
        <p15:guide id="13" orient="horz" pos="6310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5" orient="horz" pos="638">
          <p15:clr>
            <a:srgbClr val="FBAE40"/>
          </p15:clr>
        </p15:guide>
      </p15:sldGuideLst>
    </p:ext>
  </p:extLs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 AES Internal [6 Grid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ject 9">
            <a:extLst>
              <a:ext uri="{FF2B5EF4-FFF2-40B4-BE49-F238E27FC236}">
                <a16:creationId xmlns:a16="http://schemas.microsoft.com/office/drawing/2014/main" id="{CB6F4EB2-167E-924A-A56F-B516773A281E}"/>
              </a:ext>
            </a:extLst>
          </p:cNvPr>
          <p:cNvSpPr/>
          <p:nvPr/>
        </p:nvSpPr>
        <p:spPr>
          <a:xfrm>
            <a:off x="4195133" y="3521031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4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18" name="object 2">
            <a:extLst>
              <a:ext uri="{FF2B5EF4-FFF2-40B4-BE49-F238E27FC236}">
                <a16:creationId xmlns:a16="http://schemas.microsoft.com/office/drawing/2014/main" id="{8C39E4CC-CB02-2E42-A5BF-1E07B8E526FF}"/>
              </a:ext>
            </a:extLst>
          </p:cNvPr>
          <p:cNvSpPr/>
          <p:nvPr/>
        </p:nvSpPr>
        <p:spPr>
          <a:xfrm>
            <a:off x="371440" y="981453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5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 spc="-6" baseline="0"/>
          </a:p>
        </p:txBody>
      </p:sp>
      <p:sp>
        <p:nvSpPr>
          <p:cNvPr id="19" name="object 4">
            <a:extLst>
              <a:ext uri="{FF2B5EF4-FFF2-40B4-BE49-F238E27FC236}">
                <a16:creationId xmlns:a16="http://schemas.microsoft.com/office/drawing/2014/main" id="{67A8D81B-9F2E-CC43-970C-D25056A531C7}"/>
              </a:ext>
            </a:extLst>
          </p:cNvPr>
          <p:cNvSpPr/>
          <p:nvPr/>
        </p:nvSpPr>
        <p:spPr>
          <a:xfrm>
            <a:off x="8002090" y="981453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5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CA15B3B0-3924-4040-977E-CF3592326F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5764" y="1316948"/>
            <a:ext cx="3402245" cy="1694655"/>
          </a:xfrm>
        </p:spPr>
        <p:txBody>
          <a:bodyPr tIns="9144" anchor="t"/>
          <a:lstStyle>
            <a:lvl1pPr marL="5544" algn="ctr">
              <a:lnSpc>
                <a:spcPct val="100000"/>
              </a:lnSpc>
              <a:defRPr sz="10974" kern="1200" spc="-6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%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CB87E6-F251-A049-9C59-BD3496C355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79661" y="4147272"/>
            <a:ext cx="3377914" cy="1684531"/>
          </a:xfrm>
        </p:spPr>
        <p:txBody>
          <a:bodyPr tIns="9144" anchor="t">
            <a:noAutofit/>
          </a:bodyPr>
          <a:lstStyle>
            <a:lvl1pPr marL="5544">
              <a:lnSpc>
                <a:spcPts val="6051"/>
              </a:lnSpc>
              <a:defRPr sz="600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ighlight phras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975924-3337-DC45-A059-6916F5829F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6900" y="1114530"/>
            <a:ext cx="1554403" cy="315726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E563CE52-0B2A-FC45-9BA3-B228D53434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5475" y="3676289"/>
            <a:ext cx="1557283" cy="315726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6" name="Text Placeholder 3">
            <a:extLst>
              <a:ext uri="{FF2B5EF4-FFF2-40B4-BE49-F238E27FC236}">
                <a16:creationId xmlns:a16="http://schemas.microsoft.com/office/drawing/2014/main" id="{23B0CCAE-3E3E-524A-9978-45E0360424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79661" y="1114531"/>
            <a:ext cx="1529955" cy="315726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7" name="Text Placeholder 3">
            <a:extLst>
              <a:ext uri="{FF2B5EF4-FFF2-40B4-BE49-F238E27FC236}">
                <a16:creationId xmlns:a16="http://schemas.microsoft.com/office/drawing/2014/main" id="{991E0909-7CF2-C847-9F00-BEB6C298BE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9661" y="3676289"/>
            <a:ext cx="1529955" cy="315726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51CE83B5-6886-844E-8EFD-166FD9A10C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82760" y="3676289"/>
            <a:ext cx="1554563" cy="315726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99160EDD-353C-D041-809C-866103654C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82760" y="1114532"/>
            <a:ext cx="1554563" cy="315725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AB40A94C-1AD3-ED46-BF7B-8D97FF59728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21" name="Holder 6">
            <a:extLst>
              <a:ext uri="{FF2B5EF4-FFF2-40B4-BE49-F238E27FC236}">
                <a16:creationId xmlns:a16="http://schemas.microsoft.com/office/drawing/2014/main" id="{793E7CA8-1AFA-2047-94FE-E8ADCA55773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1C64CB8-A19B-BF4A-B330-559305A4F7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194926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1">
          <p15:clr>
            <a:srgbClr val="FBAE40"/>
          </p15:clr>
        </p15:guide>
        <p15:guide id="4" orient="horz" pos="6301">
          <p15:clr>
            <a:srgbClr val="FBAE40"/>
          </p15:clr>
        </p15:guide>
        <p15:guide id="12" orient="horz" pos="3648">
          <p15:clr>
            <a:srgbClr val="FBAE40"/>
          </p15:clr>
        </p15:guide>
        <p15:guide id="13" orient="horz" pos="6538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 AES Internal [Char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1439" y="975908"/>
            <a:ext cx="3690219" cy="1026498"/>
          </a:xfrm>
        </p:spPr>
        <p:txBody>
          <a:bodyPr>
            <a:normAutofit/>
          </a:bodyPr>
          <a:lstStyle>
            <a:lvl1pPr>
              <a:lnSpc>
                <a:spcPts val="4002"/>
              </a:lnSpc>
              <a:spcBef>
                <a:spcPts val="0"/>
              </a:spcBef>
              <a:defRPr sz="4244" kern="1200" spc="-6" baseline="0"/>
            </a:lvl1pPr>
          </a:lstStyle>
          <a:p>
            <a:r>
              <a:rPr lang="en-US"/>
              <a:t>Pag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4" name="Picture 13" descr="A picture containing wheel&#10;&#10;Description automatically generated">
            <a:extLst>
              <a:ext uri="{FF2B5EF4-FFF2-40B4-BE49-F238E27FC236}">
                <a16:creationId xmlns:a16="http://schemas.microsoft.com/office/drawing/2014/main" id="{FA964E1C-29FE-CC47-AD3A-9F6F12CBCB7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014ADE9-D192-B443-A631-7EE356D847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237225"/>
            <a:ext cx="3680647" cy="404518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Holder 6">
            <a:extLst>
              <a:ext uri="{FF2B5EF4-FFF2-40B4-BE49-F238E27FC236}">
                <a16:creationId xmlns:a16="http://schemas.microsoft.com/office/drawing/2014/main" id="{9123438D-25A5-E341-B9D0-74EE24D5DA5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1097475-D7CE-E946-B865-DEE1391C1B2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8017907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1">
          <p15:clr>
            <a:srgbClr val="FBAE40"/>
          </p15:clr>
        </p15:guide>
        <p15:guide id="4" orient="horz" pos="6519">
          <p15:clr>
            <a:srgbClr val="FBAE40"/>
          </p15:clr>
        </p15:guide>
        <p15:guide id="13" orient="horz" pos="2314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6" orient="horz" pos="578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88825" cy="6856214"/>
          </a:xfrm>
          <a:prstGeom prst="rect">
            <a:avLst/>
          </a:prstGeom>
        </p:spPr>
      </p:pic>
      <p:sp>
        <p:nvSpPr>
          <p:cNvPr id="5" name="Rectángulo 4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1">
              <a:alpha val="50000"/>
            </a:schemeClr>
          </a:soli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  <p:sp>
        <p:nvSpPr>
          <p:cNvPr id="10" name="Rectángulo 9"/>
          <p:cNvSpPr/>
          <p:nvPr userDrawn="1"/>
        </p:nvSpPr>
        <p:spPr bwMode="auto">
          <a:xfrm rot="10800000">
            <a:off x="-1" y="0"/>
            <a:ext cx="12192000" cy="6857999"/>
          </a:xfrm>
          <a:prstGeom prst="rect">
            <a:avLst/>
          </a:prstGeom>
          <a:gradFill>
            <a:gsLst>
              <a:gs pos="22000">
                <a:schemeClr val="bg1"/>
              </a:gs>
              <a:gs pos="100000">
                <a:schemeClr val="bg1">
                  <a:alpha val="40000"/>
                </a:schemeClr>
              </a:gs>
            </a:gsLst>
            <a:lin ang="5400000" scaled="1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599796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ES Blank [Titl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2" name="Picture 11" descr="A picture containing wheel&#10;&#10;Description automatically generated">
            <a:extLst>
              <a:ext uri="{FF2B5EF4-FFF2-40B4-BE49-F238E27FC236}">
                <a16:creationId xmlns:a16="http://schemas.microsoft.com/office/drawing/2014/main" id="{67A925F8-EBE1-4249-9A7E-7FDA35B61A6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8" name="Holder 6">
            <a:extLst>
              <a:ext uri="{FF2B5EF4-FFF2-40B4-BE49-F238E27FC236}">
                <a16:creationId xmlns:a16="http://schemas.microsoft.com/office/drawing/2014/main" id="{81AC0B4F-7AC3-D943-B8AE-E303B1AE318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C64D398-A79C-3046-976A-2D14BB72387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2288316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1">
          <p15:clr>
            <a:srgbClr val="FBAE40"/>
          </p15:clr>
        </p15:guide>
        <p15:guide id="4" orient="horz" pos="6519">
          <p15:clr>
            <a:srgbClr val="FBAE40"/>
          </p15:clr>
        </p15:guide>
        <p15:guide id="6" pos="12284">
          <p15:clr>
            <a:srgbClr val="FBAE40"/>
          </p15:clr>
        </p15:guide>
        <p15:guide id="8" pos="380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5" orient="horz" pos="298">
          <p15:clr>
            <a:srgbClr val="FBAE4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ES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wheel&#10;&#10;Description automatically generated">
            <a:extLst>
              <a:ext uri="{FF2B5EF4-FFF2-40B4-BE49-F238E27FC236}">
                <a16:creationId xmlns:a16="http://schemas.microsoft.com/office/drawing/2014/main" id="{1C0F1BE0-4A07-B049-8D29-D7C34331BCC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6" name="Holder 6">
            <a:extLst>
              <a:ext uri="{FF2B5EF4-FFF2-40B4-BE49-F238E27FC236}">
                <a16:creationId xmlns:a16="http://schemas.microsoft.com/office/drawing/2014/main" id="{7F736837-DE79-BC4B-90D8-BD4D8AC3695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673D6CF-4FA7-3346-8EC0-4EF729DD6F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0253219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6" pos="12284">
          <p15:clr>
            <a:srgbClr val="FBAE40"/>
          </p15:clr>
        </p15:guide>
        <p15:guide id="12" orient="horz" pos="2986">
          <p15:clr>
            <a:srgbClr val="FBAE40"/>
          </p15:clr>
        </p15:guide>
      </p15:sldGuideLst>
    </p:ext>
  </p:extLs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ES Blank [Gray]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wheel&#10;&#10;Description automatically generated">
            <a:extLst>
              <a:ext uri="{FF2B5EF4-FFF2-40B4-BE49-F238E27FC236}">
                <a16:creationId xmlns:a16="http://schemas.microsoft.com/office/drawing/2014/main" id="{1C0F1BE0-4A07-B049-8D29-D7C34331BCC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6" name="Holder 6">
            <a:extLst>
              <a:ext uri="{FF2B5EF4-FFF2-40B4-BE49-F238E27FC236}">
                <a16:creationId xmlns:a16="http://schemas.microsoft.com/office/drawing/2014/main" id="{7F736837-DE79-BC4B-90D8-BD4D8AC3695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673D6CF-4FA7-3346-8EC0-4EF729DD6F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93204931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6" pos="12284">
          <p15:clr>
            <a:srgbClr val="FBAE40"/>
          </p15:clr>
        </p15:guide>
        <p15:guide id="12" orient="horz" pos="2986">
          <p15:clr>
            <a:srgbClr val="FBAE40"/>
          </p15:clr>
        </p15:guide>
      </p15:sldGuideLst>
    </p:ext>
  </p:extLs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0 AES Internal [3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1950352"/>
            <a:ext cx="3690219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6454" y="1950352"/>
            <a:ext cx="3695917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32864" y="1950352"/>
            <a:ext cx="3690219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C1BE46A8-5E78-D540-B7A4-A3ABB3FA14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1385658-B7C9-D440-949B-D94D13F175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739196"/>
            <a:ext cx="3690219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AEE4267-A41A-5140-83CE-41FEC571290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39447" y="2739196"/>
            <a:ext cx="3695917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62572B3-F251-1D45-8BFA-4003EE28528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8850" y="2739196"/>
            <a:ext cx="3690220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9" name="Picture 18" descr="Logo&#10;&#10;Description automatically generated">
            <a:extLst>
              <a:ext uri="{FF2B5EF4-FFF2-40B4-BE49-F238E27FC236}">
                <a16:creationId xmlns:a16="http://schemas.microsoft.com/office/drawing/2014/main" id="{E3FDC1D7-6003-4BEE-9F02-8FE1CB002B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92" y="6278817"/>
            <a:ext cx="968253" cy="23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6274589"/>
      </p:ext>
    </p:extLst>
  </p:cSld>
  <p:clrMapOvr>
    <a:masterClrMapping/>
  </p:clrMapOvr>
  <p:transition>
    <p:wipe/>
  </p:transition>
  <p:extLst>
    <p:ext uri="{DCECCB84-F9BA-43D5-87BE-67443E8EF086}">
      <p15:sldGuideLst xmlns:p15="http://schemas.microsoft.com/office/powerpoint/2012/main">
        <p15:guide id="4" orient="horz" pos="6519">
          <p15:clr>
            <a:srgbClr val="FBAE40"/>
          </p15:clr>
        </p15:guide>
        <p15:guide id="12" orient="horz" pos="2026">
          <p15:clr>
            <a:srgbClr val="FBAE40"/>
          </p15:clr>
        </p15:guide>
        <p15:guide id="13" orient="horz" pos="2842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7" orient="horz" pos="643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EA57179-286D-9A49-B903-36471AE34F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40" y="5417398"/>
            <a:ext cx="11451644" cy="120767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40" y="379290"/>
            <a:ext cx="11445946" cy="513248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5543">
              <a:lnSpc>
                <a:spcPts val="19993"/>
              </a:lnSpc>
              <a:spcBef>
                <a:spcPts val="4059"/>
              </a:spcBef>
              <a:defRPr sz="19975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arge </a:t>
            </a:r>
            <a:br>
              <a:rPr lang="en-US" dirty="0"/>
            </a:br>
            <a:r>
              <a:rPr lang="en-US" dirty="0"/>
              <a:t>title</a:t>
            </a:r>
            <a:endParaRPr dirty="0"/>
          </a:p>
        </p:txBody>
      </p:sp>
      <p:pic>
        <p:nvPicPr>
          <p:cNvPr id="4" name="Picture 3" descr="A picture containing wheel&#10;&#10;Description automatically generated">
            <a:extLst>
              <a:ext uri="{FF2B5EF4-FFF2-40B4-BE49-F238E27FC236}">
                <a16:creationId xmlns:a16="http://schemas.microsoft.com/office/drawing/2014/main" id="{FFEF52C9-3B92-2747-AAA3-60EC862109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063" y="5883835"/>
            <a:ext cx="1546741" cy="60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77272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EA57179-286D-9A49-B903-36471AE34F6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40" y="5417398"/>
            <a:ext cx="11451644" cy="120767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40" y="517913"/>
            <a:ext cx="11445946" cy="513248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5543">
              <a:lnSpc>
                <a:spcPts val="10003"/>
              </a:lnSpc>
              <a:spcBef>
                <a:spcPts val="4059"/>
              </a:spcBef>
              <a:defRPr sz="10003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Medium </a:t>
            </a:r>
            <a:br>
              <a:rPr lang="en-US" dirty="0"/>
            </a:br>
            <a:r>
              <a:rPr lang="en-US" dirty="0"/>
              <a:t>title</a:t>
            </a:r>
            <a:endParaRPr dirty="0"/>
          </a:p>
        </p:txBody>
      </p:sp>
      <p:pic>
        <p:nvPicPr>
          <p:cNvPr id="4" name="Picture 3" descr="A picture containing wheel&#10;&#10;Description automatically generated">
            <a:extLst>
              <a:ext uri="{FF2B5EF4-FFF2-40B4-BE49-F238E27FC236}">
                <a16:creationId xmlns:a16="http://schemas.microsoft.com/office/drawing/2014/main" id="{FFEF52C9-3B92-2747-AAA3-60EC8621094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063" y="5883835"/>
            <a:ext cx="1546741" cy="60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1578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7D77FE0C-2B42-7E49-890F-6743794687E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27166" y="382601"/>
            <a:ext cx="2700716" cy="1497131"/>
          </a:xfrm>
        </p:spPr>
        <p:txBody>
          <a:bodyPr/>
          <a:lstStyle/>
          <a:p>
            <a:endParaRPr lang="en-US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2EE2625-BEEF-7E46-B852-B0D6DBFE5A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36074" y="1990630"/>
            <a:ext cx="4845347" cy="447475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181803" y="5345312"/>
            <a:ext cx="2516130" cy="382604"/>
          </a:xfrm>
        </p:spPr>
        <p:txBody>
          <a:bodyPr tIns="0">
            <a:noAutofit/>
          </a:bodyPr>
          <a:lstStyle>
            <a:lvl1pPr marL="0">
              <a:spcBef>
                <a:spcPts val="364"/>
              </a:spcBef>
              <a:defRPr sz="1939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latin typeface="Arial" charset="0"/>
                <a:ea typeface="Arial" charset="0"/>
                <a:cs typeface="Arial" charset="0"/>
              </a:defRPr>
            </a:lvl2pPr>
            <a:lvl3pPr>
              <a:defRPr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Introductory statemen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49024" y="701527"/>
            <a:ext cx="2633341" cy="648124"/>
          </a:xfrm>
        </p:spPr>
        <p:txBody>
          <a:bodyPr tIns="0">
            <a:noAutofit/>
          </a:bodyPr>
          <a:lstStyle>
            <a:lvl1pPr marL="0">
              <a:spcBef>
                <a:spcPts val="0"/>
              </a:spcBef>
              <a:defRPr sz="1939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latin typeface="Arial" charset="0"/>
                <a:ea typeface="Arial" charset="0"/>
                <a:cs typeface="Arial" charset="0"/>
              </a:defRPr>
            </a:lvl2pPr>
            <a:lvl3pPr>
              <a:defRPr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Date</a:t>
            </a:r>
          </a:p>
          <a:p>
            <a:pPr lvl="0"/>
            <a:r>
              <a:rPr lang="en-US" dirty="0"/>
              <a:t>Subhead</a:t>
            </a: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7151600" y="2809798"/>
            <a:ext cx="3572328" cy="196901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12696" marR="5078">
              <a:lnSpc>
                <a:spcPts val="8238"/>
              </a:lnSpc>
              <a:spcBef>
                <a:spcPts val="1749"/>
              </a:spcBef>
              <a:defRPr sz="5001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 marR="5080">
              <a:lnSpc>
                <a:spcPts val="8240"/>
              </a:lnSpc>
              <a:spcBef>
                <a:spcPts val="1750"/>
              </a:spcBef>
            </a:pPr>
            <a:r>
              <a:rPr lang="en-US" sz="5001" spc="-6" dirty="0">
                <a:solidFill>
                  <a:srgbClr val="010202"/>
                </a:solidFill>
                <a:latin typeface="Arial"/>
                <a:cs typeface="Arial"/>
              </a:rPr>
              <a:t>Presentation Title</a:t>
            </a:r>
            <a:endParaRPr lang="en-US" sz="5001" dirty="0">
              <a:latin typeface="Arial"/>
              <a:cs typeface="Arial"/>
            </a:endParaRPr>
          </a:p>
        </p:txBody>
      </p:sp>
      <p:pic>
        <p:nvPicPr>
          <p:cNvPr id="23" name="Picture 22" descr="A picture containing wheel&#10;&#10;Description automatically generated">
            <a:extLst>
              <a:ext uri="{FF2B5EF4-FFF2-40B4-BE49-F238E27FC236}">
                <a16:creationId xmlns:a16="http://schemas.microsoft.com/office/drawing/2014/main" id="{3D13912B-94F9-4144-9E87-1114B6CD56D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063" y="5883835"/>
            <a:ext cx="1546741" cy="603408"/>
          </a:xfrm>
          <a:prstGeom prst="rect">
            <a:avLst/>
          </a:prstGeom>
        </p:spPr>
      </p:pic>
      <p:sp>
        <p:nvSpPr>
          <p:cNvPr id="9" name="Holder 6">
            <a:extLst>
              <a:ext uri="{FF2B5EF4-FFF2-40B4-BE49-F238E27FC236}">
                <a16:creationId xmlns:a16="http://schemas.microsoft.com/office/drawing/2014/main" id="{5A099B78-E026-A84A-A699-B48505E5F37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650992" y="382600"/>
            <a:ext cx="172092" cy="933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60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9096D72-14E6-8047-8A10-918A2F0D0B0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39" y="1874187"/>
            <a:ext cx="11481365" cy="121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15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  <p15:guide id="9" pos="6428">
          <p15:clr>
            <a:srgbClr val="FBAE40"/>
          </p15:clr>
        </p15:guide>
        <p15:guide id="10" pos="8444">
          <p15:clr>
            <a:srgbClr val="FBAE40"/>
          </p15:clr>
        </p15:guide>
        <p15:guide id="12" orient="horz" pos="2938">
          <p15:clr>
            <a:srgbClr val="FBAE4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93E22AF4-9ECA-6848-B9C1-E3B07771CE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57759" y="931548"/>
            <a:ext cx="3682041" cy="2578392"/>
          </a:xfrm>
        </p:spPr>
        <p:txBody>
          <a:bodyPr/>
          <a:lstStyle/>
          <a:p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320D3A8-6E16-594B-9E2B-8C22FF2D0D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626384"/>
            <a:ext cx="7157760" cy="3232694"/>
          </a:xfrm>
        </p:spPr>
        <p:txBody>
          <a:bodyPr/>
          <a:lstStyle/>
          <a:p>
            <a:endParaRPr lang="en-US"/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341618" y="869073"/>
            <a:ext cx="3686677" cy="196901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12696" marR="5078">
              <a:lnSpc>
                <a:spcPts val="8238"/>
              </a:lnSpc>
              <a:spcBef>
                <a:spcPts val="1749"/>
              </a:spcBef>
              <a:defRPr sz="5001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 marR="5080">
              <a:lnSpc>
                <a:spcPts val="8240"/>
              </a:lnSpc>
              <a:spcBef>
                <a:spcPts val="1750"/>
              </a:spcBef>
            </a:pPr>
            <a:r>
              <a:rPr lang="en-US" sz="5001" spc="-3" dirty="0"/>
              <a:t>Title with </a:t>
            </a:r>
            <a:r>
              <a:rPr lang="en-US" sz="5001" spc="-6" dirty="0">
                <a:solidFill>
                  <a:srgbClr val="1DA84A"/>
                </a:solidFill>
              </a:rPr>
              <a:t>green and </a:t>
            </a:r>
            <a:br>
              <a:rPr lang="en-US" sz="5001" spc="-6" dirty="0">
                <a:solidFill>
                  <a:srgbClr val="1DA84A"/>
                </a:solidFill>
              </a:rPr>
            </a:br>
            <a:r>
              <a:rPr lang="en-US" sz="5001" spc="-3" dirty="0"/>
              <a:t>black text</a:t>
            </a:r>
            <a:endParaRPr lang="en-US" sz="5001" dirty="0">
              <a:latin typeface="Arial"/>
              <a:cs typeface="Arial"/>
            </a:endParaRPr>
          </a:p>
        </p:txBody>
      </p:sp>
      <p:pic>
        <p:nvPicPr>
          <p:cNvPr id="20" name="Picture 19" descr="A picture containing wheel&#10;&#10;Description automatically generated">
            <a:extLst>
              <a:ext uri="{FF2B5EF4-FFF2-40B4-BE49-F238E27FC236}">
                <a16:creationId xmlns:a16="http://schemas.microsoft.com/office/drawing/2014/main" id="{41653854-ECE0-3B41-B714-2E91B5CE645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063" y="5883835"/>
            <a:ext cx="1546741" cy="6034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531BB61-330E-8141-9C04-2EA05B2DA452}"/>
              </a:ext>
            </a:extLst>
          </p:cNvPr>
          <p:cNvSpPr/>
          <p:nvPr userDrawn="1"/>
        </p:nvSpPr>
        <p:spPr>
          <a:xfrm>
            <a:off x="371440" y="3509942"/>
            <a:ext cx="11451644" cy="116705"/>
          </a:xfrm>
          <a:prstGeom prst="rect">
            <a:avLst/>
          </a:prstGeom>
          <a:gradFill flip="none" rotWithShape="1">
            <a:gsLst>
              <a:gs pos="100000">
                <a:srgbClr val="3250FC"/>
              </a:gs>
              <a:gs pos="70000">
                <a:srgbClr val="9E70FF"/>
              </a:gs>
              <a:gs pos="34000">
                <a:srgbClr val="2ACEEB"/>
              </a:gs>
              <a:gs pos="0">
                <a:srgbClr val="2CBF38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2"/>
          </a:p>
        </p:txBody>
      </p:sp>
      <p:sp>
        <p:nvSpPr>
          <p:cNvPr id="14" name="Holder 6">
            <a:extLst>
              <a:ext uri="{FF2B5EF4-FFF2-40B4-BE49-F238E27FC236}">
                <a16:creationId xmlns:a16="http://schemas.microsoft.com/office/drawing/2014/main" id="{FE7A3AB4-2A5A-BD48-90EC-6D3AFC0757F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650992" y="382600"/>
            <a:ext cx="172092" cy="933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60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5462B46-67AA-6E44-83EF-0BD607BA3A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167" y="4431179"/>
            <a:ext cx="2633341" cy="648124"/>
          </a:xfrm>
        </p:spPr>
        <p:txBody>
          <a:bodyPr tIns="0">
            <a:noAutofit/>
          </a:bodyPr>
          <a:lstStyle>
            <a:lvl1pPr marL="0">
              <a:spcBef>
                <a:spcPts val="0"/>
              </a:spcBef>
              <a:defRPr sz="1939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latin typeface="Arial" charset="0"/>
                <a:ea typeface="Arial" charset="0"/>
                <a:cs typeface="Arial" charset="0"/>
              </a:defRPr>
            </a:lvl2pPr>
            <a:lvl3pPr>
              <a:defRPr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 dirty="0"/>
              <a:t>Subhead</a:t>
            </a:r>
          </a:p>
          <a:p>
            <a:pPr lvl="0"/>
            <a:r>
              <a:rPr lang="en-US" dirty="0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304746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  <p15:guide id="9" pos="6428">
          <p15:clr>
            <a:srgbClr val="FBAE40"/>
          </p15:clr>
        </p15:guide>
        <p15:guide id="10" pos="8444">
          <p15:clr>
            <a:srgbClr val="FBAE40"/>
          </p15:clr>
        </p15:guide>
        <p15:guide id="12" orient="horz" pos="2938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C637C7C-BEE7-064C-9851-9802BDCB89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61944" y="3163392"/>
            <a:ext cx="3690961" cy="248358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939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939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939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7161944" y="1685660"/>
            <a:ext cx="3690961" cy="19862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2696" marR="5078">
              <a:lnSpc>
                <a:spcPts val="8238"/>
              </a:lnSpc>
              <a:spcBef>
                <a:spcPts val="1749"/>
              </a:spcBef>
              <a:defRPr sz="5001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 marR="5080">
              <a:lnSpc>
                <a:spcPts val="8240"/>
              </a:lnSpc>
              <a:spcBef>
                <a:spcPts val="1750"/>
              </a:spcBef>
            </a:pPr>
            <a:r>
              <a:rPr lang="en-US" sz="5001" spc="-3" dirty="0"/>
              <a:t>Presentation Title</a:t>
            </a:r>
            <a:endParaRPr lang="en-US" sz="5001" dirty="0">
              <a:latin typeface="Arial"/>
              <a:cs typeface="Arial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3EE9359-C4CF-F045-9C60-D5C9638414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71511"/>
            <a:ext cx="6186810" cy="6091799"/>
          </a:xfrm>
        </p:spPr>
        <p:txBody>
          <a:bodyPr/>
          <a:lstStyle/>
          <a:p>
            <a:endParaRPr lang="en-US"/>
          </a:p>
        </p:txBody>
      </p:sp>
      <p:pic>
        <p:nvPicPr>
          <p:cNvPr id="22" name="Picture 21" descr="A picture containing wheel&#10;&#10;Description automatically generated">
            <a:extLst>
              <a:ext uri="{FF2B5EF4-FFF2-40B4-BE49-F238E27FC236}">
                <a16:creationId xmlns:a16="http://schemas.microsoft.com/office/drawing/2014/main" id="{ED0E0FFB-0640-CA4F-9B26-C32580330BF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063" y="5883835"/>
            <a:ext cx="1546741" cy="603408"/>
          </a:xfrm>
          <a:prstGeom prst="rect">
            <a:avLst/>
          </a:prstGeom>
        </p:spPr>
      </p:pic>
      <p:sp>
        <p:nvSpPr>
          <p:cNvPr id="11" name="Holder 6">
            <a:extLst>
              <a:ext uri="{FF2B5EF4-FFF2-40B4-BE49-F238E27FC236}">
                <a16:creationId xmlns:a16="http://schemas.microsoft.com/office/drawing/2014/main" id="{64A510D6-7281-A34D-9D20-1FEC25FDE74C}"/>
              </a:ext>
            </a:extLst>
          </p:cNvPr>
          <p:cNvSpPr txBox="1">
            <a:spLocks/>
          </p:cNvSpPr>
          <p:nvPr userDrawn="1"/>
        </p:nvSpPr>
        <p:spPr>
          <a:xfrm>
            <a:off x="11650992" y="382601"/>
            <a:ext cx="172092" cy="932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F15528-21DE-4FAA-801E-634DDDAF4B2B}" type="slidenum">
              <a:rPr lang="en-US" sz="606" smtClean="0"/>
              <a:pPr/>
              <a:t>‹Nº›</a:t>
            </a:fld>
            <a:endParaRPr lang="en-US" sz="606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B4C659-EB9F-A840-A6AD-B59A4B50F9C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56989" y="919343"/>
            <a:ext cx="583262" cy="58337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7363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  <p15:guide id="12" orient="horz" pos="2938">
          <p15:clr>
            <a:srgbClr val="FBAE40"/>
          </p15:clr>
        </p15:guide>
      </p15:sldGuideLst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AES Section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wheel&#10;&#10;Description automatically generated">
            <a:extLst>
              <a:ext uri="{FF2B5EF4-FFF2-40B4-BE49-F238E27FC236}">
                <a16:creationId xmlns:a16="http://schemas.microsoft.com/office/drawing/2014/main" id="{6D06CDE7-47E0-244C-8AA6-E3B37A29AB6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71439" y="2062715"/>
            <a:ext cx="11448102" cy="4124655"/>
          </a:xfrm>
        </p:spPr>
        <p:txBody>
          <a:bodyPr tIns="0"/>
          <a:lstStyle>
            <a:lvl1pPr marL="12696" marR="5078">
              <a:lnSpc>
                <a:spcPts val="8617"/>
              </a:lnSpc>
              <a:spcBef>
                <a:spcPts val="1035"/>
              </a:spcBef>
              <a:defRPr sz="4729" kern="1200" spc="-6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12700" marR="5080">
              <a:lnSpc>
                <a:spcPts val="8620"/>
              </a:lnSpc>
              <a:spcBef>
                <a:spcPts val="1035"/>
              </a:spcBef>
            </a:pPr>
            <a:r>
              <a:rPr lang="en-US" sz="4729" dirty="0">
                <a:latin typeface="Arial"/>
                <a:cs typeface="Arial"/>
              </a:rPr>
              <a:t>Overview statement</a:t>
            </a: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39" y="421415"/>
            <a:ext cx="10481466" cy="1460400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12696" marR="3080">
              <a:lnSpc>
                <a:spcPct val="100000"/>
              </a:lnSpc>
              <a:spcBef>
                <a:spcPts val="114"/>
              </a:spcBef>
              <a:defRPr sz="9487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114"/>
              </a:spcBef>
            </a:pPr>
            <a:r>
              <a:rPr lang="en-US" kern="0" dirty="0"/>
              <a:t>Section Title</a:t>
            </a:r>
          </a:p>
        </p:txBody>
      </p:sp>
      <p:sp>
        <p:nvSpPr>
          <p:cNvPr id="23" name="object 7"/>
          <p:cNvSpPr/>
          <p:nvPr userDrawn="1"/>
        </p:nvSpPr>
        <p:spPr>
          <a:xfrm>
            <a:off x="11456251" y="6390566"/>
            <a:ext cx="36190" cy="0"/>
          </a:xfrm>
          <a:custGeom>
            <a:avLst/>
            <a:gdLst/>
            <a:ahLst/>
            <a:cxnLst/>
            <a:rect l="l" t="t" r="r" b="b"/>
            <a:pathLst>
              <a:path w="59690">
                <a:moveTo>
                  <a:pt x="59537" y="0"/>
                </a:moveTo>
                <a:lnTo>
                  <a:pt x="0" y="0"/>
                </a:lnTo>
                <a:lnTo>
                  <a:pt x="59537" y="0"/>
                </a:lnTo>
                <a:close/>
              </a:path>
            </a:pathLst>
          </a:custGeom>
          <a:solidFill>
            <a:srgbClr val="8471B3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4" name="object 8"/>
          <p:cNvSpPr/>
          <p:nvPr userDrawn="1"/>
        </p:nvSpPr>
        <p:spPr>
          <a:xfrm>
            <a:off x="11456251" y="6390566"/>
            <a:ext cx="36190" cy="0"/>
          </a:xfrm>
          <a:custGeom>
            <a:avLst/>
            <a:gdLst/>
            <a:ahLst/>
            <a:cxnLst/>
            <a:rect l="l" t="t" r="r" b="b"/>
            <a:pathLst>
              <a:path w="59690">
                <a:moveTo>
                  <a:pt x="59537" y="0"/>
                </a:moveTo>
                <a:lnTo>
                  <a:pt x="0" y="0"/>
                </a:lnTo>
                <a:lnTo>
                  <a:pt x="59537" y="0"/>
                </a:lnTo>
                <a:close/>
              </a:path>
            </a:pathLst>
          </a:custGeom>
          <a:solidFill>
            <a:srgbClr val="8471B3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2758F6-7CDC-ED49-B135-67289B7D24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2" name="Holder 6">
            <a:extLst>
              <a:ext uri="{FF2B5EF4-FFF2-40B4-BE49-F238E27FC236}">
                <a16:creationId xmlns:a16="http://schemas.microsoft.com/office/drawing/2014/main" id="{BA296ADF-0C87-FC4F-855E-11AE685E82F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487431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12" orient="horz" pos="2125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7281460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3"/>
            <a:ext cx="12188825" cy="6856214"/>
          </a:xfrm>
          <a:prstGeom prst="rect">
            <a:avLst/>
          </a:prstGeom>
        </p:spPr>
      </p:pic>
      <p:sp>
        <p:nvSpPr>
          <p:cNvPr id="3" name="Rectángulo 2"/>
          <p:cNvSpPr/>
          <p:nvPr userDrawn="1"/>
        </p:nvSpPr>
        <p:spPr bwMode="auto">
          <a:xfrm rot="10800000">
            <a:off x="-1" y="0"/>
            <a:ext cx="12192000" cy="6857999"/>
          </a:xfrm>
          <a:prstGeom prst="rect">
            <a:avLst/>
          </a:prstGeom>
          <a:gradFill>
            <a:gsLst>
              <a:gs pos="26000">
                <a:schemeClr val="bg1"/>
              </a:gs>
              <a:gs pos="100000">
                <a:schemeClr val="bg1">
                  <a:alpha val="50000"/>
                </a:schemeClr>
              </a:gs>
            </a:gsLst>
            <a:lin ang="5400000" scaled="1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4751670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AES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39" y="576673"/>
            <a:ext cx="10481466" cy="72789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12696" marR="3080">
              <a:lnSpc>
                <a:spcPct val="100000"/>
              </a:lnSpc>
              <a:spcBef>
                <a:spcPts val="114"/>
              </a:spcBef>
              <a:defRPr sz="4729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114"/>
              </a:spcBef>
            </a:pPr>
            <a:r>
              <a:rPr lang="en-US" kern="0" spc="-3" dirty="0"/>
              <a:t>Section</a:t>
            </a:r>
            <a:r>
              <a:rPr lang="en-US" kern="0" spc="-33" dirty="0"/>
              <a:t> </a:t>
            </a:r>
            <a:r>
              <a:rPr lang="en-US" kern="0" dirty="0"/>
              <a:t>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1440" y="1678462"/>
            <a:ext cx="11451644" cy="3886694"/>
          </a:xfrm>
        </p:spPr>
        <p:txBody>
          <a:bodyPr tIns="365760"/>
          <a:lstStyle>
            <a:lvl1pPr marL="5543" marR="0" indent="0" defTabSz="554326" eaLnBrk="1" fontAlgn="auto" latinLnBrk="0" hangingPunct="1">
              <a:lnSpc>
                <a:spcPts val="94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487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 sz="9487">
                <a:latin typeface="Arial" charset="0"/>
                <a:ea typeface="Arial" charset="0"/>
                <a:cs typeface="Arial" charset="0"/>
              </a:defRPr>
            </a:lvl2pPr>
            <a:lvl3pPr>
              <a:defRPr sz="9487">
                <a:latin typeface="Arial" charset="0"/>
                <a:ea typeface="Arial" charset="0"/>
                <a:cs typeface="Arial" charset="0"/>
              </a:defRPr>
            </a:lvl3pPr>
            <a:lvl4pPr>
              <a:defRPr sz="9487">
                <a:latin typeface="Arial" charset="0"/>
                <a:ea typeface="Arial" charset="0"/>
                <a:cs typeface="Arial" charset="0"/>
              </a:defRPr>
            </a:lvl4pPr>
            <a:lvl5pPr>
              <a:defRPr sz="9487">
                <a:latin typeface="Arial" charset="0"/>
                <a:ea typeface="Arial" charset="0"/>
                <a:cs typeface="Arial" charset="0"/>
              </a:defRPr>
            </a:lvl5pPr>
          </a:lstStyle>
          <a:p>
            <a:pPr marL="0" marR="0" lvl="0" indent="0" defTabSz="554326" eaLnBrk="1" fontAlgn="auto" latinLnBrk="0" hangingPunct="1">
              <a:lnSpc>
                <a:spcPts val="9499"/>
              </a:lnSpc>
              <a:spcBef>
                <a:spcPts val="1957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487" spc="-24" dirty="0">
                <a:solidFill>
                  <a:srgbClr val="010202"/>
                </a:solidFill>
                <a:latin typeface="Arial"/>
                <a:cs typeface="Arial"/>
              </a:rPr>
              <a:t>Overview statement</a:t>
            </a:r>
            <a:endParaRPr lang="en-US" sz="9487" dirty="0">
              <a:latin typeface="Arial"/>
              <a:cs typeface="Arial"/>
            </a:endParaRPr>
          </a:p>
        </p:txBody>
      </p:sp>
      <p:pic>
        <p:nvPicPr>
          <p:cNvPr id="15" name="Picture 14" descr="A picture containing wheel&#10;&#10;Description automatically generated">
            <a:extLst>
              <a:ext uri="{FF2B5EF4-FFF2-40B4-BE49-F238E27FC236}">
                <a16:creationId xmlns:a16="http://schemas.microsoft.com/office/drawing/2014/main" id="{0FDCDEAA-5702-DA4A-B940-CFB90503E4F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B97702A-63B0-BD47-8A38-B17413BB26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40" y="1502676"/>
            <a:ext cx="11425926" cy="120496"/>
          </a:xfrm>
          <a:prstGeom prst="rect">
            <a:avLst/>
          </a:prstGeom>
        </p:spPr>
      </p:pic>
      <p:sp>
        <p:nvSpPr>
          <p:cNvPr id="9" name="Holder 6">
            <a:extLst>
              <a:ext uri="{FF2B5EF4-FFF2-40B4-BE49-F238E27FC236}">
                <a16:creationId xmlns:a16="http://schemas.microsoft.com/office/drawing/2014/main" id="{CD501E8A-F006-3A41-9AEF-F30A4223718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9E90806-CF1D-1C44-A4E2-C638EF8186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427950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12" orient="horz" pos="1738">
          <p15:clr>
            <a:srgbClr val="FBAE40"/>
          </p15:clr>
        </p15:guide>
      </p15:sldGuideLst>
    </p:ext>
  </p:extLs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A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1439" y="425497"/>
            <a:ext cx="10481466" cy="5845280"/>
          </a:xfrm>
        </p:spPr>
        <p:txBody>
          <a:bodyPr tIns="411480">
            <a:normAutofit/>
          </a:bodyPr>
          <a:lstStyle>
            <a:lvl1pPr marL="12696" marR="5078" indent="1835234" defTabSz="554326" eaLnBrk="1" fontAlgn="auto" latinLnBrk="0" hangingPunct="1">
              <a:lnSpc>
                <a:spcPts val="15664"/>
              </a:lnSpc>
              <a:spcBef>
                <a:spcPts val="3228"/>
              </a:spcBef>
              <a:spcAft>
                <a:spcPts val="0"/>
              </a:spcAft>
              <a:buClrTx/>
              <a:buSzTx/>
              <a:buFontTx/>
              <a:buNone/>
              <a:tabLst/>
              <a:defRPr sz="9457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 sz="9487">
                <a:latin typeface="Arial" charset="0"/>
                <a:ea typeface="Arial" charset="0"/>
                <a:cs typeface="Arial" charset="0"/>
              </a:defRPr>
            </a:lvl2pPr>
            <a:lvl3pPr>
              <a:defRPr sz="9487">
                <a:latin typeface="Arial" charset="0"/>
                <a:ea typeface="Arial" charset="0"/>
                <a:cs typeface="Arial" charset="0"/>
              </a:defRPr>
            </a:lvl3pPr>
            <a:lvl4pPr>
              <a:defRPr sz="9487">
                <a:latin typeface="Arial" charset="0"/>
                <a:ea typeface="Arial" charset="0"/>
                <a:cs typeface="Arial" charset="0"/>
              </a:defRPr>
            </a:lvl4pPr>
            <a:lvl5pPr>
              <a:defRPr sz="9487">
                <a:latin typeface="Arial" charset="0"/>
                <a:ea typeface="Arial" charset="0"/>
                <a:cs typeface="Arial" charset="0"/>
              </a:defRPr>
            </a:lvl5pPr>
          </a:lstStyle>
          <a:p>
            <a:pPr marL="12700" marR="5080" indent="1835785">
              <a:lnSpc>
                <a:spcPts val="15669"/>
              </a:lnSpc>
              <a:spcBef>
                <a:spcPts val="3229"/>
              </a:spcBef>
            </a:pPr>
            <a:r>
              <a:rPr lang="en-US" sz="9487" dirty="0">
                <a:solidFill>
                  <a:srgbClr val="010202"/>
                </a:solidFill>
                <a:latin typeface="Arial"/>
                <a:cs typeface="Arial"/>
              </a:rPr>
              <a:t>Statement</a:t>
            </a:r>
            <a:endParaRPr lang="en-US" sz="9487" dirty="0">
              <a:latin typeface="Arial"/>
              <a:cs typeface="Arial"/>
            </a:endParaRPr>
          </a:p>
        </p:txBody>
      </p:sp>
      <p:sp>
        <p:nvSpPr>
          <p:cNvPr id="17" name="object 4"/>
          <p:cNvSpPr/>
          <p:nvPr userDrawn="1"/>
        </p:nvSpPr>
        <p:spPr>
          <a:xfrm>
            <a:off x="9406662" y="4617208"/>
            <a:ext cx="1277909" cy="642287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2"/>
          </a:p>
        </p:txBody>
      </p:sp>
      <p:pic>
        <p:nvPicPr>
          <p:cNvPr id="14" name="Picture 13" descr="A picture containing wheel&#10;&#10;Description automatically generated">
            <a:extLst>
              <a:ext uri="{FF2B5EF4-FFF2-40B4-BE49-F238E27FC236}">
                <a16:creationId xmlns:a16="http://schemas.microsoft.com/office/drawing/2014/main" id="{4F60CC4A-3204-0A4F-88C9-7347EA77FE1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E9DD4A45-1A06-F546-993C-EF0BD6378E45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43" y="765280"/>
            <a:ext cx="738791" cy="876099"/>
          </a:xfrm>
          <a:prstGeom prst="rect">
            <a:avLst/>
          </a:prstGeom>
        </p:spPr>
      </p:pic>
      <p:sp>
        <p:nvSpPr>
          <p:cNvPr id="9" name="Holder 6">
            <a:extLst>
              <a:ext uri="{FF2B5EF4-FFF2-40B4-BE49-F238E27FC236}">
                <a16:creationId xmlns:a16="http://schemas.microsoft.com/office/drawing/2014/main" id="{34FE868D-0380-B540-BB8F-223B6C8B6CA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1001D29-735C-FF4A-963A-07A38CAB1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795870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A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1439" y="425497"/>
            <a:ext cx="10481466" cy="5135600"/>
          </a:xfrm>
        </p:spPr>
        <p:txBody>
          <a:bodyPr tIns="411480">
            <a:normAutofit/>
          </a:bodyPr>
          <a:lstStyle>
            <a:lvl1pPr marL="12696" marR="5078" indent="0" defTabSz="554326" eaLnBrk="1" fontAlgn="auto" latinLnBrk="0" hangingPunct="1">
              <a:lnSpc>
                <a:spcPts val="15664"/>
              </a:lnSpc>
              <a:spcBef>
                <a:spcPts val="3228"/>
              </a:spcBef>
              <a:spcAft>
                <a:spcPts val="0"/>
              </a:spcAft>
              <a:buClrTx/>
              <a:buSzTx/>
              <a:buFontTx/>
              <a:buNone/>
              <a:tabLst/>
              <a:defRPr sz="9457" kern="1200" spc="-6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9487">
                <a:latin typeface="Arial" charset="0"/>
                <a:ea typeface="Arial" charset="0"/>
                <a:cs typeface="Arial" charset="0"/>
              </a:defRPr>
            </a:lvl2pPr>
            <a:lvl3pPr>
              <a:defRPr sz="9487">
                <a:latin typeface="Arial" charset="0"/>
                <a:ea typeface="Arial" charset="0"/>
                <a:cs typeface="Arial" charset="0"/>
              </a:defRPr>
            </a:lvl3pPr>
            <a:lvl4pPr>
              <a:defRPr sz="9487">
                <a:latin typeface="Arial" charset="0"/>
                <a:ea typeface="Arial" charset="0"/>
                <a:cs typeface="Arial" charset="0"/>
              </a:defRPr>
            </a:lvl4pPr>
            <a:lvl5pPr>
              <a:defRPr sz="9487">
                <a:latin typeface="Arial" charset="0"/>
                <a:ea typeface="Arial" charset="0"/>
                <a:cs typeface="Arial" charset="0"/>
              </a:defRPr>
            </a:lvl5pPr>
          </a:lstStyle>
          <a:p>
            <a:pPr marL="12700" marR="5080">
              <a:lnSpc>
                <a:spcPts val="15669"/>
              </a:lnSpc>
              <a:spcBef>
                <a:spcPts val="3229"/>
              </a:spcBef>
            </a:pPr>
            <a:r>
              <a:rPr lang="en-US" sz="9487" dirty="0">
                <a:latin typeface="Arial"/>
                <a:cs typeface="Arial"/>
              </a:rPr>
              <a:t>Statement</a:t>
            </a:r>
          </a:p>
          <a:p>
            <a:pPr marL="12700" marR="5080">
              <a:lnSpc>
                <a:spcPts val="15669"/>
              </a:lnSpc>
              <a:spcBef>
                <a:spcPts val="3229"/>
              </a:spcBef>
            </a:pPr>
            <a:endParaRPr lang="en-US" sz="9487" dirty="0">
              <a:latin typeface="Arial"/>
              <a:cs typeface="Arial"/>
            </a:endParaRPr>
          </a:p>
          <a:p>
            <a:pPr marL="12700" marR="5080">
              <a:lnSpc>
                <a:spcPts val="15669"/>
              </a:lnSpc>
              <a:spcBef>
                <a:spcPts val="3229"/>
              </a:spcBef>
            </a:pPr>
            <a:endParaRPr lang="en-US" sz="9487" dirty="0">
              <a:latin typeface="Arial"/>
              <a:cs typeface="Arial"/>
            </a:endParaRPr>
          </a:p>
        </p:txBody>
      </p:sp>
      <p:pic>
        <p:nvPicPr>
          <p:cNvPr id="12" name="Picture 11" descr="A picture containing wheel&#10;&#10;Description automatically generated">
            <a:extLst>
              <a:ext uri="{FF2B5EF4-FFF2-40B4-BE49-F238E27FC236}">
                <a16:creationId xmlns:a16="http://schemas.microsoft.com/office/drawing/2014/main" id="{64E6C3E9-4207-9249-B0F7-90978B29CE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8" name="Holder 6">
            <a:extLst>
              <a:ext uri="{FF2B5EF4-FFF2-40B4-BE49-F238E27FC236}">
                <a16:creationId xmlns:a16="http://schemas.microsoft.com/office/drawing/2014/main" id="{C758FB5D-0EF0-7A41-882B-E8017C9071C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0BB4385-9AF5-6142-985D-5B8685801A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5567176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11" pos="11276">
          <p15:clr>
            <a:srgbClr val="FBAE40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S Thank You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39" y="426959"/>
            <a:ext cx="10481466" cy="1474250"/>
          </a:xfrm>
          <a:prstGeom prst="rect">
            <a:avLst/>
          </a:prstGeom>
        </p:spPr>
        <p:txBody>
          <a:bodyPr wrap="square" lIns="0" tIns="18288" rIns="0" bIns="0" anchor="t">
            <a:spAutoFit/>
          </a:bodyPr>
          <a:lstStyle>
            <a:lvl1pPr marL="12696" marR="3080">
              <a:lnSpc>
                <a:spcPct val="100000"/>
              </a:lnSpc>
              <a:spcBef>
                <a:spcPts val="114"/>
              </a:spcBef>
              <a:defRPr sz="9457" b="0" i="0" kern="1200" spc="24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114"/>
              </a:spcBef>
            </a:pPr>
            <a:r>
              <a:rPr lang="en-US" kern="0" spc="-3" dirty="0"/>
              <a:t>Thank you.</a:t>
            </a:r>
            <a:endParaRPr lang="en-US" kern="0" dirty="0"/>
          </a:p>
        </p:txBody>
      </p:sp>
      <p:pic>
        <p:nvPicPr>
          <p:cNvPr id="12" name="Picture 11" descr="A picture containing wheel&#10;&#10;Description automatically generated">
            <a:extLst>
              <a:ext uri="{FF2B5EF4-FFF2-40B4-BE49-F238E27FC236}">
                <a16:creationId xmlns:a16="http://schemas.microsoft.com/office/drawing/2014/main" id="{C8D6DC13-9230-FA47-A8EE-8E45528B933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8" name="Holder 6">
            <a:extLst>
              <a:ext uri="{FF2B5EF4-FFF2-40B4-BE49-F238E27FC236}">
                <a16:creationId xmlns:a16="http://schemas.microsoft.com/office/drawing/2014/main" id="{A34F3BBE-0388-8142-88D9-F9D87E2EDD0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CD9889C-15D4-5E44-AAB7-FBA8FA1916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0938276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AES Internal [Agenda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8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1950353"/>
            <a:ext cx="3690219" cy="482875"/>
          </a:xfrm>
        </p:spPr>
        <p:txBody>
          <a:bodyPr tIns="9144">
            <a:noAutofit/>
          </a:bodyPr>
          <a:lstStyle>
            <a:lvl1pPr marL="0">
              <a:lnSpc>
                <a:spcPts val="4001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Agenda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C1BE46A8-5E78-D540-B7A4-A3ABB3FA14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1385658-B7C9-D440-949B-D94D13F175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40" y="2739197"/>
            <a:ext cx="3690220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Holder 6">
            <a:extLst>
              <a:ext uri="{FF2B5EF4-FFF2-40B4-BE49-F238E27FC236}">
                <a16:creationId xmlns:a16="http://schemas.microsoft.com/office/drawing/2014/main" id="{097D15B3-42A8-6D4C-ABF7-5CA7BA9BCAE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59DAEC1-F79B-5447-9B9D-9E08CD7E64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C23C8094-582E-9C46-97B7-FD2260AABBB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16633" y="2735884"/>
            <a:ext cx="3690220" cy="3539707"/>
          </a:xfrm>
        </p:spPr>
        <p:txBody>
          <a:bodyPr/>
          <a:lstStyle>
            <a:lvl1pPr>
              <a:lnSpc>
                <a:spcPts val="2364"/>
              </a:lnSpc>
              <a:spcBef>
                <a:spcPts val="485"/>
              </a:spcBef>
              <a:spcAft>
                <a:spcPts val="485"/>
              </a:spcAft>
              <a:defRPr sz="212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1730" indent="-332595">
              <a:lnSpc>
                <a:spcPts val="2364"/>
              </a:lnSpc>
              <a:spcBef>
                <a:spcPts val="485"/>
              </a:spcBef>
              <a:spcAft>
                <a:spcPts val="485"/>
              </a:spcAft>
              <a:buFont typeface="+mj-lt"/>
              <a:buAutoNum type="arabicPeriod"/>
              <a:defRPr sz="212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7163" indent="-277163">
              <a:spcAft>
                <a:spcPts val="485"/>
              </a:spcAft>
              <a:buFont typeface="System Font Regular"/>
              <a:buChar char="→"/>
              <a:defRPr sz="1455"/>
            </a:lvl4pPr>
            <a:lvl5pPr marL="0">
              <a:spcAft>
                <a:spcPts val="485"/>
              </a:spcAft>
              <a:defRPr sz="1455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603394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519">
          <p15:clr>
            <a:srgbClr val="FBAE40"/>
          </p15:clr>
        </p15:guide>
        <p15:guide id="12" orient="horz" pos="2026">
          <p15:clr>
            <a:srgbClr val="FBAE40"/>
          </p15:clr>
        </p15:guide>
        <p15:guide id="13" orient="horz" pos="2842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7" orient="horz" pos="643">
          <p15:clr>
            <a:srgbClr val="FBAE4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FFB57AF-F198-8649-8163-E57B45CDF9C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16633" y="381214"/>
            <a:ext cx="6972193" cy="5543004"/>
          </a:xfrm>
        </p:spPr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8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pic>
        <p:nvPicPr>
          <p:cNvPr id="15" name="Picture 14" descr="A picture containing wheel&#10;&#10;Description automatically generated">
            <a:extLst>
              <a:ext uri="{FF2B5EF4-FFF2-40B4-BE49-F238E27FC236}">
                <a16:creationId xmlns:a16="http://schemas.microsoft.com/office/drawing/2014/main" id="{893DFAB9-DC3C-F749-AB19-2C8D1522CC0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F57EE5C5-7F1A-BA4B-A336-879F28A704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39" y="975908"/>
            <a:ext cx="3690219" cy="1026498"/>
          </a:xfrm>
        </p:spPr>
        <p:txBody>
          <a:bodyPr>
            <a:noAutofit/>
          </a:bodyPr>
          <a:lstStyle>
            <a:lvl1pPr>
              <a:lnSpc>
                <a:spcPts val="4001"/>
              </a:lnSpc>
              <a:spcBef>
                <a:spcPts val="858"/>
              </a:spcBef>
              <a:defRPr sz="4244" kern="1200" spc="-6" baseline="0"/>
            </a:lvl1pPr>
          </a:lstStyle>
          <a:p>
            <a:r>
              <a:rPr lang="en-US" dirty="0"/>
              <a:t>Page 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EDCA175-78DC-024C-B777-F738F319FF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40" y="2237225"/>
            <a:ext cx="3680646" cy="365811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2" name="Holder 6">
            <a:extLst>
              <a:ext uri="{FF2B5EF4-FFF2-40B4-BE49-F238E27FC236}">
                <a16:creationId xmlns:a16="http://schemas.microsoft.com/office/drawing/2014/main" id="{68105A6C-8942-264B-A101-3CC7EE365C4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1F28457-D9B6-0447-87CB-810932507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2175315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4">
          <p15:clr>
            <a:srgbClr val="FBAE40"/>
          </p15:clr>
        </p15:guide>
        <p15:guide id="12" orient="horz" pos="6154">
          <p15:clr>
            <a:srgbClr val="FBAE40"/>
          </p15:clr>
        </p15:guide>
        <p15:guide id="13" orient="horz" pos="2314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95D7368-0A17-1B47-8586-4BA40EA7B47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68230" y="381215"/>
            <a:ext cx="5031065" cy="5514125"/>
          </a:xfrm>
        </p:spPr>
        <p:txBody>
          <a:bodyPr/>
          <a:lstStyle/>
          <a:p>
            <a:endParaRPr lang="en-US"/>
          </a:p>
        </p:txBody>
      </p:sp>
      <p:sp>
        <p:nvSpPr>
          <p:cNvPr id="38" name="object 2"/>
          <p:cNvSpPr/>
          <p:nvPr userDrawn="1"/>
        </p:nvSpPr>
        <p:spPr>
          <a:xfrm>
            <a:off x="0" y="4191429"/>
            <a:ext cx="12188825" cy="2666957"/>
          </a:xfrm>
          <a:custGeom>
            <a:avLst/>
            <a:gdLst/>
            <a:ahLst/>
            <a:cxnLst/>
            <a:rect l="l" t="t" r="r" b="b"/>
            <a:pathLst>
              <a:path w="20104100" h="4398009">
                <a:moveTo>
                  <a:pt x="0" y="4397771"/>
                </a:moveTo>
                <a:lnTo>
                  <a:pt x="20104099" y="4397771"/>
                </a:lnTo>
                <a:lnTo>
                  <a:pt x="20104099" y="0"/>
                </a:lnTo>
                <a:lnTo>
                  <a:pt x="0" y="0"/>
                </a:lnTo>
                <a:lnTo>
                  <a:pt x="0" y="4397771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2" dirty="0"/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4251731" y="5506117"/>
            <a:ext cx="1750284" cy="615899"/>
          </a:xfrm>
        </p:spPr>
        <p:txBody>
          <a:bodyPr>
            <a:noAutofit/>
          </a:bodyPr>
          <a:lstStyle>
            <a:lvl1pPr>
              <a:defRPr sz="1455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Column three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2317340" y="5508350"/>
            <a:ext cx="1750283" cy="615899"/>
          </a:xfrm>
        </p:spPr>
        <p:txBody>
          <a:bodyPr>
            <a:noAutofit/>
          </a:bodyPr>
          <a:lstStyle>
            <a:lvl1pPr>
              <a:defRPr sz="1455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Column two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71441" y="4646652"/>
            <a:ext cx="2724473" cy="615899"/>
          </a:xfrm>
        </p:spPr>
        <p:txBody>
          <a:bodyPr>
            <a:noAutofit/>
          </a:bodyPr>
          <a:lstStyle>
            <a:lvl1pPr>
              <a:lnSpc>
                <a:spcPts val="4001"/>
              </a:lnSpc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3201" y="975909"/>
            <a:ext cx="5628813" cy="513249"/>
          </a:xfrm>
        </p:spPr>
        <p:txBody>
          <a:bodyPr>
            <a:noAutofit/>
          </a:bodyPr>
          <a:lstStyle>
            <a:lvl1pPr>
              <a:lnSpc>
                <a:spcPts val="4001"/>
              </a:lnSpc>
              <a:spcBef>
                <a:spcPts val="858"/>
              </a:spcBef>
              <a:defRPr sz="4244" kern="1200" spc="-6" baseline="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181953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41" y="1597510"/>
            <a:ext cx="2724473" cy="2348120"/>
          </a:xfrm>
        </p:spPr>
        <p:txBody>
          <a:bodyPr tIns="182880">
            <a:noAutofit/>
          </a:bodyPr>
          <a:lstStyle>
            <a:lvl1pPr>
              <a:lnSpc>
                <a:spcPts val="2364"/>
              </a:lnSpc>
              <a:spcBef>
                <a:spcPts val="0"/>
              </a:spcBef>
              <a:spcAft>
                <a:spcPts val="1092"/>
              </a:spcAft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Column one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2" y="1597510"/>
            <a:ext cx="2724473" cy="2348120"/>
          </a:xfrm>
        </p:spPr>
        <p:txBody>
          <a:bodyPr tIns="182880">
            <a:noAutofit/>
          </a:bodyPr>
          <a:lstStyle>
            <a:lvl1pPr>
              <a:lnSpc>
                <a:spcPts val="2364"/>
              </a:lnSpc>
              <a:spcBef>
                <a:spcPts val="0"/>
              </a:spcBef>
              <a:spcAft>
                <a:spcPts val="1092"/>
              </a:spcAft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Column two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71440" y="5502703"/>
            <a:ext cx="1749862" cy="615899"/>
          </a:xfrm>
        </p:spPr>
        <p:txBody>
          <a:bodyPr>
            <a:noAutofit/>
          </a:bodyPr>
          <a:lstStyle>
            <a:lvl1pPr>
              <a:defRPr sz="1455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Column on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75C7DE60-CC46-8D47-A06A-2B17A0419C0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16" name="Holder 6">
            <a:extLst>
              <a:ext uri="{FF2B5EF4-FFF2-40B4-BE49-F238E27FC236}">
                <a16:creationId xmlns:a16="http://schemas.microsoft.com/office/drawing/2014/main" id="{9EA350B0-E587-5F4D-8F8F-31EF6CA405CB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9D22C19-5712-F940-AFBD-5A6CCAB10E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269144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4">
          <p15:clr>
            <a:srgbClr val="FBAE40"/>
          </p15:clr>
        </p15:guide>
        <p15:guide id="10" pos="7436">
          <p15:clr>
            <a:srgbClr val="FBAE40"/>
          </p15:clr>
        </p15:guide>
        <p15:guide id="11" pos="11276">
          <p15:clr>
            <a:srgbClr val="FBAE40"/>
          </p15:clr>
        </p15:guide>
        <p15:guide id="12" orient="horz" pos="1642">
          <p15:clr>
            <a:srgbClr val="FBAE40"/>
          </p15:clr>
        </p15:guide>
        <p15:guide id="13" orient="horz" pos="6124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6" orient="horz" pos="298">
          <p15:clr>
            <a:srgbClr val="FBAE40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C0AB3C0-200B-4B4B-B0F1-ABA44ADFE0A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86965" y="3720649"/>
            <a:ext cx="4651311" cy="2389865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BE7DE52-1254-6249-ABAD-E525EA4DFF9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093482" y="3726193"/>
            <a:ext cx="1936246" cy="182428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7EBCB3D6-4D60-F14F-A0AF-3114855D24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52152" y="1968450"/>
            <a:ext cx="1934812" cy="1646844"/>
          </a:xfrm>
        </p:spPr>
        <p:txBody>
          <a:bodyPr/>
          <a:lstStyle/>
          <a:p>
            <a:endParaRPr lang="en-US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0E2EB56-7CED-7348-A58E-88E7CF5EF7B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937093"/>
            <a:ext cx="3094368" cy="2678202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162686" y="937094"/>
            <a:ext cx="3692220" cy="895853"/>
          </a:xfrm>
        </p:spPr>
        <p:txBody>
          <a:bodyPr tIns="64008">
            <a:noAutofit/>
          </a:bodyPr>
          <a:lstStyle>
            <a:lvl1pPr>
              <a:lnSpc>
                <a:spcPct val="100000"/>
              </a:lnSpc>
              <a:spcBef>
                <a:spcPts val="298"/>
              </a:spcBef>
              <a:defRPr sz="2121" kern="1200" spc="-6" baseline="0"/>
            </a:lvl1pPr>
          </a:lstStyle>
          <a:p>
            <a:r>
              <a:rPr lang="en-US" dirty="0"/>
              <a:t>Two line </a:t>
            </a:r>
            <a:br>
              <a:rPr lang="en-US" dirty="0"/>
            </a:br>
            <a:r>
              <a:rPr lang="en-US" dirty="0"/>
              <a:t>page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181953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71441" y="4585656"/>
            <a:ext cx="1746320" cy="931548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1455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Image caption and/or tertiary information</a:t>
            </a:r>
          </a:p>
        </p:txBody>
      </p:sp>
      <p:pic>
        <p:nvPicPr>
          <p:cNvPr id="35" name="Picture 34" descr="A picture containing wheel&#10;&#10;Description automatically generated">
            <a:extLst>
              <a:ext uri="{FF2B5EF4-FFF2-40B4-BE49-F238E27FC236}">
                <a16:creationId xmlns:a16="http://schemas.microsoft.com/office/drawing/2014/main" id="{1139A26F-B067-D84F-A4E0-49B6F78905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197B536-B691-7446-9D91-744D726F3EB3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40" y="3609750"/>
            <a:ext cx="11425926" cy="120496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E93359D-A64B-0D4B-B53C-424638ED95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62686" y="2095716"/>
            <a:ext cx="3692220" cy="89585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1" name="Holder 6">
            <a:extLst>
              <a:ext uri="{FF2B5EF4-FFF2-40B4-BE49-F238E27FC236}">
                <a16:creationId xmlns:a16="http://schemas.microsoft.com/office/drawing/2014/main" id="{3B0BEF5E-2804-4342-9630-9585A1E7994F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8DAE40B-6A7E-4042-9CBF-AA75ECF5588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210387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4">
          <p15:clr>
            <a:srgbClr val="FBAE40"/>
          </p15:clr>
        </p15:guide>
        <p15:guide id="13" orient="horz" pos="2177">
          <p15:clr>
            <a:srgbClr val="FBAE40"/>
          </p15:clr>
        </p15:guide>
        <p15:guide id="14" orient="horz" pos="970">
          <p15:clr>
            <a:srgbClr val="FBAE40"/>
          </p15:clr>
        </p15:guide>
      </p15:sldGuideLst>
    </p:ext>
  </p:extLs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C1FF589E-7E61-B747-A809-3BF6FE1AD92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40" y="931549"/>
            <a:ext cx="11451644" cy="120767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FC26BD-B34C-064A-95F7-17557B653C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71441" y="1230975"/>
            <a:ext cx="3682442" cy="2234607"/>
          </a:xfrm>
        </p:spPr>
        <p:txBody>
          <a:bodyPr/>
          <a:lstStyle/>
          <a:p>
            <a:endParaRPr lang="en-US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181953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pic>
        <p:nvPicPr>
          <p:cNvPr id="26" name="Picture 25" descr="A picture containing wheel&#10;&#10;Description automatically generated">
            <a:extLst>
              <a:ext uri="{FF2B5EF4-FFF2-40B4-BE49-F238E27FC236}">
                <a16:creationId xmlns:a16="http://schemas.microsoft.com/office/drawing/2014/main" id="{33A47EFD-824B-AA4A-9E96-1787953BB3F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46C1DB38-126E-C546-A53C-0B564AED3AC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54925" y="1230975"/>
            <a:ext cx="3682442" cy="2234607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6E03029A-3CB6-BD47-89E5-172273E6D19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38409" y="1230975"/>
            <a:ext cx="3682442" cy="2234607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Picture Placeholder 4">
            <a:extLst>
              <a:ext uri="{FF2B5EF4-FFF2-40B4-BE49-F238E27FC236}">
                <a16:creationId xmlns:a16="http://schemas.microsoft.com/office/drawing/2014/main" id="{8425C69D-1918-D549-9100-570B7AB92A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71441" y="3670744"/>
            <a:ext cx="3682442" cy="2234607"/>
          </a:xfrm>
        </p:spPr>
        <p:txBody>
          <a:bodyPr/>
          <a:lstStyle/>
          <a:p>
            <a:endParaRPr lang="en-US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9497CC5A-7566-1C48-B5D5-683A9DEF7B4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54925" y="3670744"/>
            <a:ext cx="3682442" cy="2234607"/>
          </a:xfrm>
        </p:spPr>
        <p:txBody>
          <a:bodyPr/>
          <a:lstStyle/>
          <a:p>
            <a:endParaRPr lang="en-US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68E12BCF-FF9A-7546-953A-CDD97377D8B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38409" y="3670744"/>
            <a:ext cx="3682442" cy="2234607"/>
          </a:xfrm>
        </p:spPr>
        <p:txBody>
          <a:bodyPr/>
          <a:lstStyle/>
          <a:p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3EB5216-7CF5-AC4C-A29A-EEB163E428FB}"/>
              </a:ext>
            </a:extLst>
          </p:cNvPr>
          <p:cNvGrpSpPr/>
          <p:nvPr userDrawn="1"/>
        </p:nvGrpSpPr>
        <p:grpSpPr>
          <a:xfrm>
            <a:off x="4053883" y="887575"/>
            <a:ext cx="4077135" cy="199647"/>
            <a:chOff x="6686423" y="1463675"/>
            <a:chExt cx="6724777" cy="32923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F0919B2-E0D4-C244-A945-9728349D1673}"/>
                </a:ext>
              </a:extLst>
            </p:cNvPr>
            <p:cNvSpPr/>
            <p:nvPr userDrawn="1"/>
          </p:nvSpPr>
          <p:spPr>
            <a:xfrm>
              <a:off x="13085763" y="1463675"/>
              <a:ext cx="325437" cy="3047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92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BD08769-5B71-F64F-BC54-9D2BF8212A8C}"/>
                </a:ext>
              </a:extLst>
            </p:cNvPr>
            <p:cNvSpPr/>
            <p:nvPr userDrawn="1"/>
          </p:nvSpPr>
          <p:spPr>
            <a:xfrm>
              <a:off x="6686423" y="1488109"/>
              <a:ext cx="325437" cy="3047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92"/>
            </a:p>
          </p:txBody>
        </p:sp>
      </p:grpSp>
      <p:sp>
        <p:nvSpPr>
          <p:cNvPr id="17" name="Holder 6">
            <a:extLst>
              <a:ext uri="{FF2B5EF4-FFF2-40B4-BE49-F238E27FC236}">
                <a16:creationId xmlns:a16="http://schemas.microsoft.com/office/drawing/2014/main" id="{273E81E8-10A1-4E4E-AA42-786546C9CB9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247CA37A-0B71-1946-9121-C831D8C981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9047784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139">
          <p15:clr>
            <a:srgbClr val="FBAE40"/>
          </p15:clr>
        </p15:guide>
        <p15:guide id="12" orient="horz" pos="1271">
          <p15:clr>
            <a:srgbClr val="FBAE40"/>
          </p15:clr>
        </p15:guide>
        <p15:guide id="13" orient="horz" pos="3802">
          <p15:clr>
            <a:srgbClr val="FBAE40"/>
          </p15:clr>
        </p15:guide>
        <p15:guide id="14" orient="horz" pos="1085">
          <p15:clr>
            <a:srgbClr val="FBAE40"/>
          </p15:clr>
        </p15:guide>
        <p15:guide id="15" orient="horz" pos="6514">
          <p15:clr>
            <a:srgbClr val="FBAE40"/>
          </p15:clr>
        </p15:guide>
        <p15:guide id="16" orient="horz" pos="3600">
          <p15:clr>
            <a:srgbClr val="FBAE40"/>
          </p15:clr>
        </p15:guide>
        <p15:guide id="17" orient="horz" pos="643">
          <p15:clr>
            <a:srgbClr val="FBAE40"/>
          </p15:clr>
        </p15:guide>
      </p15:sldGuideLst>
    </p:ext>
  </p:extLs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181953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1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pic>
        <p:nvPicPr>
          <p:cNvPr id="14" name="Picture 13" descr="A picture containing wheel&#10;&#10;Description automatically generated">
            <a:extLst>
              <a:ext uri="{FF2B5EF4-FFF2-40B4-BE49-F238E27FC236}">
                <a16:creationId xmlns:a16="http://schemas.microsoft.com/office/drawing/2014/main" id="{2AC7F684-2439-AD47-A936-BAEC54FFB61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1DF996A-4428-A844-ADA2-56775069BED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553470" y="618992"/>
            <a:ext cx="5984059" cy="5985198"/>
          </a:xfrm>
        </p:spPr>
        <p:txBody>
          <a:bodyPr/>
          <a:lstStyle/>
          <a:p>
            <a:endParaRPr lang="en-US" dirty="0"/>
          </a:p>
        </p:txBody>
      </p:sp>
      <p:sp>
        <p:nvSpPr>
          <p:cNvPr id="9" name="Holder 6">
            <a:extLst>
              <a:ext uri="{FF2B5EF4-FFF2-40B4-BE49-F238E27FC236}">
                <a16:creationId xmlns:a16="http://schemas.microsoft.com/office/drawing/2014/main" id="{6AB7BBD9-9766-3146-8122-C9C6E3F7A5B1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FF3E4F-7019-B342-BF26-AF5C2C11FD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16A64FD4-81E8-DA47-A7DC-84CECB1266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3201" y="975909"/>
            <a:ext cx="5628813" cy="513249"/>
          </a:xfrm>
        </p:spPr>
        <p:txBody>
          <a:bodyPr>
            <a:noAutofit/>
          </a:bodyPr>
          <a:lstStyle>
            <a:lvl1pPr>
              <a:lnSpc>
                <a:spcPts val="4001"/>
              </a:lnSpc>
              <a:spcBef>
                <a:spcPts val="858"/>
              </a:spcBef>
              <a:defRPr sz="4244" kern="1200" spc="-6" baseline="0"/>
            </a:lvl1pPr>
          </a:lstStyle>
          <a:p>
            <a:r>
              <a:rPr lang="en-US" dirty="0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416204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o 2"/>
          <p:cNvGrpSpPr/>
          <p:nvPr/>
        </p:nvGrpSpPr>
        <p:grpSpPr>
          <a:xfrm>
            <a:off x="11495088" y="231527"/>
            <a:ext cx="486895" cy="488139"/>
            <a:chOff x="6922272" y="2182812"/>
            <a:chExt cx="2486025" cy="2492375"/>
          </a:xfrm>
        </p:grpSpPr>
        <p:sp>
          <p:nvSpPr>
            <p:cNvPr id="4" name="Oval 5"/>
            <p:cNvSpPr>
              <a:spLocks noChangeArrowheads="1"/>
            </p:cNvSpPr>
            <p:nvPr/>
          </p:nvSpPr>
          <p:spPr bwMode="auto">
            <a:xfrm>
              <a:off x="6922272" y="2182812"/>
              <a:ext cx="2486025" cy="24923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5" name="Freeform 6"/>
            <p:cNvSpPr>
              <a:spLocks/>
            </p:cNvSpPr>
            <p:nvPr/>
          </p:nvSpPr>
          <p:spPr bwMode="auto">
            <a:xfrm>
              <a:off x="7028635" y="2338387"/>
              <a:ext cx="1603375" cy="1679575"/>
            </a:xfrm>
            <a:custGeom>
              <a:avLst/>
              <a:gdLst>
                <a:gd name="T0" fmla="*/ 59 w 426"/>
                <a:gd name="T1" fmla="*/ 446 h 446"/>
                <a:gd name="T2" fmla="*/ 13 w 426"/>
                <a:gd name="T3" fmla="*/ 289 h 446"/>
                <a:gd name="T4" fmla="*/ 302 w 426"/>
                <a:gd name="T5" fmla="*/ 0 h 446"/>
                <a:gd name="T6" fmla="*/ 399 w 426"/>
                <a:gd name="T7" fmla="*/ 24 h 446"/>
                <a:gd name="T8" fmla="*/ 424 w 426"/>
                <a:gd name="T9" fmla="*/ 75 h 446"/>
                <a:gd name="T10" fmla="*/ 205 w 426"/>
                <a:gd name="T11" fmla="*/ 160 h 446"/>
                <a:gd name="T12" fmla="*/ 59 w 426"/>
                <a:gd name="T13" fmla="*/ 446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6" h="446">
                  <a:moveTo>
                    <a:pt x="59" y="446"/>
                  </a:moveTo>
                  <a:cubicBezTo>
                    <a:pt x="29" y="401"/>
                    <a:pt x="13" y="347"/>
                    <a:pt x="13" y="289"/>
                  </a:cubicBezTo>
                  <a:cubicBezTo>
                    <a:pt x="13" y="129"/>
                    <a:pt x="142" y="0"/>
                    <a:pt x="302" y="0"/>
                  </a:cubicBezTo>
                  <a:cubicBezTo>
                    <a:pt x="364" y="0"/>
                    <a:pt x="390" y="17"/>
                    <a:pt x="399" y="24"/>
                  </a:cubicBezTo>
                  <a:cubicBezTo>
                    <a:pt x="415" y="38"/>
                    <a:pt x="426" y="56"/>
                    <a:pt x="424" y="75"/>
                  </a:cubicBezTo>
                  <a:cubicBezTo>
                    <a:pt x="419" y="150"/>
                    <a:pt x="312" y="135"/>
                    <a:pt x="205" y="160"/>
                  </a:cubicBezTo>
                  <a:cubicBezTo>
                    <a:pt x="49" y="197"/>
                    <a:pt x="0" y="332"/>
                    <a:pt x="59" y="446"/>
                  </a:cubicBezTo>
                  <a:close/>
                </a:path>
              </a:pathLst>
            </a:custGeom>
            <a:solidFill>
              <a:srgbClr val="92C0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7028635" y="2563812"/>
              <a:ext cx="1616075" cy="1906588"/>
            </a:xfrm>
            <a:custGeom>
              <a:avLst/>
              <a:gdLst>
                <a:gd name="T0" fmla="*/ 423 w 429"/>
                <a:gd name="T1" fmla="*/ 0 h 506"/>
                <a:gd name="T2" fmla="*/ 418 w 429"/>
                <a:gd name="T3" fmla="*/ 55 h 506"/>
                <a:gd name="T4" fmla="*/ 97 w 429"/>
                <a:gd name="T5" fmla="*/ 267 h 506"/>
                <a:gd name="T6" fmla="*/ 208 w 429"/>
                <a:gd name="T7" fmla="*/ 498 h 506"/>
                <a:gd name="T8" fmla="*/ 206 w 429"/>
                <a:gd name="T9" fmla="*/ 503 h 506"/>
                <a:gd name="T10" fmla="*/ 59 w 429"/>
                <a:gd name="T11" fmla="*/ 386 h 506"/>
                <a:gd name="T12" fmla="*/ 205 w 429"/>
                <a:gd name="T13" fmla="*/ 100 h 506"/>
                <a:gd name="T14" fmla="*/ 424 w 429"/>
                <a:gd name="T15" fmla="*/ 15 h 506"/>
                <a:gd name="T16" fmla="*/ 423 w 429"/>
                <a:gd name="T17" fmla="*/ 0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9" h="506">
                  <a:moveTo>
                    <a:pt x="423" y="0"/>
                  </a:moveTo>
                  <a:cubicBezTo>
                    <a:pt x="429" y="22"/>
                    <a:pt x="426" y="39"/>
                    <a:pt x="418" y="55"/>
                  </a:cubicBezTo>
                  <a:cubicBezTo>
                    <a:pt x="363" y="165"/>
                    <a:pt x="148" y="87"/>
                    <a:pt x="97" y="267"/>
                  </a:cubicBezTo>
                  <a:cubicBezTo>
                    <a:pt x="76" y="351"/>
                    <a:pt x="120" y="450"/>
                    <a:pt x="208" y="498"/>
                  </a:cubicBezTo>
                  <a:cubicBezTo>
                    <a:pt x="216" y="503"/>
                    <a:pt x="215" y="506"/>
                    <a:pt x="206" y="503"/>
                  </a:cubicBezTo>
                  <a:cubicBezTo>
                    <a:pt x="145" y="481"/>
                    <a:pt x="93" y="440"/>
                    <a:pt x="59" y="386"/>
                  </a:cubicBezTo>
                  <a:cubicBezTo>
                    <a:pt x="0" y="272"/>
                    <a:pt x="49" y="137"/>
                    <a:pt x="205" y="100"/>
                  </a:cubicBezTo>
                  <a:cubicBezTo>
                    <a:pt x="312" y="75"/>
                    <a:pt x="419" y="90"/>
                    <a:pt x="424" y="15"/>
                  </a:cubicBezTo>
                  <a:cubicBezTo>
                    <a:pt x="425" y="10"/>
                    <a:pt x="424" y="5"/>
                    <a:pt x="423" y="0"/>
                  </a:cubicBezTo>
                  <a:close/>
                </a:path>
              </a:pathLst>
            </a:custGeom>
            <a:solidFill>
              <a:srgbClr val="5C7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8131947" y="2398712"/>
              <a:ext cx="1144588" cy="1612900"/>
            </a:xfrm>
            <a:custGeom>
              <a:avLst/>
              <a:gdLst>
                <a:gd name="T0" fmla="*/ 114 w 304"/>
                <a:gd name="T1" fmla="*/ 3 h 428"/>
                <a:gd name="T2" fmla="*/ 285 w 304"/>
                <a:gd name="T3" fmla="*/ 186 h 428"/>
                <a:gd name="T4" fmla="*/ 260 w 304"/>
                <a:gd name="T5" fmla="*/ 317 h 428"/>
                <a:gd name="T6" fmla="*/ 23 w 304"/>
                <a:gd name="T7" fmla="*/ 311 h 428"/>
                <a:gd name="T8" fmla="*/ 157 w 304"/>
                <a:gd name="T9" fmla="*/ 78 h 428"/>
                <a:gd name="T10" fmla="*/ 112 w 304"/>
                <a:gd name="T11" fmla="*/ 7 h 428"/>
                <a:gd name="T12" fmla="*/ 114 w 304"/>
                <a:gd name="T13" fmla="*/ 3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4" h="428">
                  <a:moveTo>
                    <a:pt x="114" y="3"/>
                  </a:moveTo>
                  <a:cubicBezTo>
                    <a:pt x="195" y="35"/>
                    <a:pt x="259" y="102"/>
                    <a:pt x="285" y="186"/>
                  </a:cubicBezTo>
                  <a:cubicBezTo>
                    <a:pt x="285" y="186"/>
                    <a:pt x="304" y="256"/>
                    <a:pt x="260" y="317"/>
                  </a:cubicBezTo>
                  <a:cubicBezTo>
                    <a:pt x="180" y="428"/>
                    <a:pt x="37" y="388"/>
                    <a:pt x="23" y="311"/>
                  </a:cubicBezTo>
                  <a:cubicBezTo>
                    <a:pt x="0" y="188"/>
                    <a:pt x="170" y="200"/>
                    <a:pt x="157" y="78"/>
                  </a:cubicBezTo>
                  <a:cubicBezTo>
                    <a:pt x="153" y="48"/>
                    <a:pt x="134" y="23"/>
                    <a:pt x="112" y="7"/>
                  </a:cubicBezTo>
                  <a:cubicBezTo>
                    <a:pt x="103" y="1"/>
                    <a:pt x="105" y="0"/>
                    <a:pt x="114" y="3"/>
                  </a:cubicBezTo>
                  <a:close/>
                </a:path>
              </a:pathLst>
            </a:custGeom>
            <a:solidFill>
              <a:srgbClr val="167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8" name="Freeform 9"/>
            <p:cNvSpPr>
              <a:spLocks/>
            </p:cNvSpPr>
            <p:nvPr/>
          </p:nvSpPr>
          <p:spPr bwMode="auto">
            <a:xfrm>
              <a:off x="8093847" y="3098800"/>
              <a:ext cx="1182688" cy="1371600"/>
            </a:xfrm>
            <a:custGeom>
              <a:avLst/>
              <a:gdLst>
                <a:gd name="T0" fmla="*/ 113 w 314"/>
                <a:gd name="T1" fmla="*/ 361 h 364"/>
                <a:gd name="T2" fmla="*/ 111 w 314"/>
                <a:gd name="T3" fmla="*/ 357 h 364"/>
                <a:gd name="T4" fmla="*/ 135 w 314"/>
                <a:gd name="T5" fmla="*/ 302 h 364"/>
                <a:gd name="T6" fmla="*/ 8 w 314"/>
                <a:gd name="T7" fmla="*/ 155 h 364"/>
                <a:gd name="T8" fmla="*/ 80 w 314"/>
                <a:gd name="T9" fmla="*/ 20 h 364"/>
                <a:gd name="T10" fmla="*/ 33 w 314"/>
                <a:gd name="T11" fmla="*/ 125 h 364"/>
                <a:gd name="T12" fmla="*/ 270 w 314"/>
                <a:gd name="T13" fmla="*/ 131 h 364"/>
                <a:gd name="T14" fmla="*/ 295 w 314"/>
                <a:gd name="T15" fmla="*/ 0 h 364"/>
                <a:gd name="T16" fmla="*/ 309 w 314"/>
                <a:gd name="T17" fmla="*/ 87 h 364"/>
                <a:gd name="T18" fmla="*/ 113 w 314"/>
                <a:gd name="T19" fmla="*/ 361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4" h="364">
                  <a:moveTo>
                    <a:pt x="113" y="361"/>
                  </a:moveTo>
                  <a:cubicBezTo>
                    <a:pt x="104" y="364"/>
                    <a:pt x="103" y="363"/>
                    <a:pt x="111" y="357"/>
                  </a:cubicBezTo>
                  <a:cubicBezTo>
                    <a:pt x="125" y="346"/>
                    <a:pt x="138" y="327"/>
                    <a:pt x="135" y="302"/>
                  </a:cubicBezTo>
                  <a:cubicBezTo>
                    <a:pt x="126" y="231"/>
                    <a:pt x="24" y="241"/>
                    <a:pt x="8" y="155"/>
                  </a:cubicBezTo>
                  <a:cubicBezTo>
                    <a:pt x="0" y="114"/>
                    <a:pt x="17" y="66"/>
                    <a:pt x="80" y="20"/>
                  </a:cubicBezTo>
                  <a:cubicBezTo>
                    <a:pt x="49" y="45"/>
                    <a:pt x="23" y="73"/>
                    <a:pt x="33" y="125"/>
                  </a:cubicBezTo>
                  <a:cubicBezTo>
                    <a:pt x="47" y="202"/>
                    <a:pt x="190" y="242"/>
                    <a:pt x="270" y="131"/>
                  </a:cubicBezTo>
                  <a:cubicBezTo>
                    <a:pt x="314" y="70"/>
                    <a:pt x="295" y="0"/>
                    <a:pt x="295" y="0"/>
                  </a:cubicBezTo>
                  <a:cubicBezTo>
                    <a:pt x="304" y="27"/>
                    <a:pt x="309" y="57"/>
                    <a:pt x="309" y="87"/>
                  </a:cubicBezTo>
                  <a:cubicBezTo>
                    <a:pt x="309" y="214"/>
                    <a:pt x="227" y="322"/>
                    <a:pt x="113" y="361"/>
                  </a:cubicBezTo>
                  <a:close/>
                </a:path>
              </a:pathLst>
            </a:custGeom>
            <a:solidFill>
              <a:srgbClr val="1D3B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  <p:graphicFrame>
        <p:nvGraphicFramePr>
          <p:cNvPr id="9" name="Objeto 1" hidden="1">
            <a:extLst>
              <a:ext uri="{FF2B5EF4-FFF2-40B4-BE49-F238E27FC236}">
                <a16:creationId xmlns:a16="http://schemas.microsoft.com/office/drawing/2014/main" id="{0428BF89-E8C6-4980-8591-7AC4FFE5CA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9" name="Objeto 1" hidden="1">
                        <a:extLst>
                          <a:ext uri="{FF2B5EF4-FFF2-40B4-BE49-F238E27FC236}">
                            <a16:creationId xmlns:a16="http://schemas.microsoft.com/office/drawing/2014/main" id="{0428BF89-E8C6-4980-8591-7AC4FFE5CA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upo 2">
            <a:extLst>
              <a:ext uri="{FF2B5EF4-FFF2-40B4-BE49-F238E27FC236}">
                <a16:creationId xmlns:a16="http://schemas.microsoft.com/office/drawing/2014/main" id="{523CC4A1-4839-44FF-B775-E87E822D7869}"/>
              </a:ext>
            </a:extLst>
          </p:cNvPr>
          <p:cNvGrpSpPr/>
          <p:nvPr userDrawn="1"/>
        </p:nvGrpSpPr>
        <p:grpSpPr>
          <a:xfrm>
            <a:off x="11495088" y="231527"/>
            <a:ext cx="486895" cy="488139"/>
            <a:chOff x="6922272" y="2182812"/>
            <a:chExt cx="2486025" cy="2492375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100096C9-92E8-41BC-95ED-2DEB564F27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2272" y="2182812"/>
              <a:ext cx="2486025" cy="24923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87DE8D47-7E69-4739-8092-3D5A16B27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8635" y="2338387"/>
              <a:ext cx="1603375" cy="1679575"/>
            </a:xfrm>
            <a:custGeom>
              <a:avLst/>
              <a:gdLst>
                <a:gd name="T0" fmla="*/ 59 w 426"/>
                <a:gd name="T1" fmla="*/ 446 h 446"/>
                <a:gd name="T2" fmla="*/ 13 w 426"/>
                <a:gd name="T3" fmla="*/ 289 h 446"/>
                <a:gd name="T4" fmla="*/ 302 w 426"/>
                <a:gd name="T5" fmla="*/ 0 h 446"/>
                <a:gd name="T6" fmla="*/ 399 w 426"/>
                <a:gd name="T7" fmla="*/ 24 h 446"/>
                <a:gd name="T8" fmla="*/ 424 w 426"/>
                <a:gd name="T9" fmla="*/ 75 h 446"/>
                <a:gd name="T10" fmla="*/ 205 w 426"/>
                <a:gd name="T11" fmla="*/ 160 h 446"/>
                <a:gd name="T12" fmla="*/ 59 w 426"/>
                <a:gd name="T13" fmla="*/ 446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6" h="446">
                  <a:moveTo>
                    <a:pt x="59" y="446"/>
                  </a:moveTo>
                  <a:cubicBezTo>
                    <a:pt x="29" y="401"/>
                    <a:pt x="13" y="347"/>
                    <a:pt x="13" y="289"/>
                  </a:cubicBezTo>
                  <a:cubicBezTo>
                    <a:pt x="13" y="129"/>
                    <a:pt x="142" y="0"/>
                    <a:pt x="302" y="0"/>
                  </a:cubicBezTo>
                  <a:cubicBezTo>
                    <a:pt x="364" y="0"/>
                    <a:pt x="390" y="17"/>
                    <a:pt x="399" y="24"/>
                  </a:cubicBezTo>
                  <a:cubicBezTo>
                    <a:pt x="415" y="38"/>
                    <a:pt x="426" y="56"/>
                    <a:pt x="424" y="75"/>
                  </a:cubicBezTo>
                  <a:cubicBezTo>
                    <a:pt x="419" y="150"/>
                    <a:pt x="312" y="135"/>
                    <a:pt x="205" y="160"/>
                  </a:cubicBezTo>
                  <a:cubicBezTo>
                    <a:pt x="49" y="197"/>
                    <a:pt x="0" y="332"/>
                    <a:pt x="59" y="446"/>
                  </a:cubicBezTo>
                  <a:close/>
                </a:path>
              </a:pathLst>
            </a:custGeom>
            <a:solidFill>
              <a:srgbClr val="92C0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266568DC-BF8E-44A6-B232-12BE9BDEA7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8635" y="2563812"/>
              <a:ext cx="1616075" cy="1906588"/>
            </a:xfrm>
            <a:custGeom>
              <a:avLst/>
              <a:gdLst>
                <a:gd name="T0" fmla="*/ 423 w 429"/>
                <a:gd name="T1" fmla="*/ 0 h 506"/>
                <a:gd name="T2" fmla="*/ 418 w 429"/>
                <a:gd name="T3" fmla="*/ 55 h 506"/>
                <a:gd name="T4" fmla="*/ 97 w 429"/>
                <a:gd name="T5" fmla="*/ 267 h 506"/>
                <a:gd name="T6" fmla="*/ 208 w 429"/>
                <a:gd name="T7" fmla="*/ 498 h 506"/>
                <a:gd name="T8" fmla="*/ 206 w 429"/>
                <a:gd name="T9" fmla="*/ 503 h 506"/>
                <a:gd name="T10" fmla="*/ 59 w 429"/>
                <a:gd name="T11" fmla="*/ 386 h 506"/>
                <a:gd name="T12" fmla="*/ 205 w 429"/>
                <a:gd name="T13" fmla="*/ 100 h 506"/>
                <a:gd name="T14" fmla="*/ 424 w 429"/>
                <a:gd name="T15" fmla="*/ 15 h 506"/>
                <a:gd name="T16" fmla="*/ 423 w 429"/>
                <a:gd name="T17" fmla="*/ 0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9" h="506">
                  <a:moveTo>
                    <a:pt x="423" y="0"/>
                  </a:moveTo>
                  <a:cubicBezTo>
                    <a:pt x="429" y="22"/>
                    <a:pt x="426" y="39"/>
                    <a:pt x="418" y="55"/>
                  </a:cubicBezTo>
                  <a:cubicBezTo>
                    <a:pt x="363" y="165"/>
                    <a:pt x="148" y="87"/>
                    <a:pt x="97" y="267"/>
                  </a:cubicBezTo>
                  <a:cubicBezTo>
                    <a:pt x="76" y="351"/>
                    <a:pt x="120" y="450"/>
                    <a:pt x="208" y="498"/>
                  </a:cubicBezTo>
                  <a:cubicBezTo>
                    <a:pt x="216" y="503"/>
                    <a:pt x="215" y="506"/>
                    <a:pt x="206" y="503"/>
                  </a:cubicBezTo>
                  <a:cubicBezTo>
                    <a:pt x="145" y="481"/>
                    <a:pt x="93" y="440"/>
                    <a:pt x="59" y="386"/>
                  </a:cubicBezTo>
                  <a:cubicBezTo>
                    <a:pt x="0" y="272"/>
                    <a:pt x="49" y="137"/>
                    <a:pt x="205" y="100"/>
                  </a:cubicBezTo>
                  <a:cubicBezTo>
                    <a:pt x="312" y="75"/>
                    <a:pt x="419" y="90"/>
                    <a:pt x="424" y="15"/>
                  </a:cubicBezTo>
                  <a:cubicBezTo>
                    <a:pt x="425" y="10"/>
                    <a:pt x="424" y="5"/>
                    <a:pt x="423" y="0"/>
                  </a:cubicBezTo>
                  <a:close/>
                </a:path>
              </a:pathLst>
            </a:custGeom>
            <a:solidFill>
              <a:srgbClr val="5C7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84E89113-9FFA-4B2E-9C80-ABAED7E5448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1947" y="2398712"/>
              <a:ext cx="1144588" cy="1612900"/>
            </a:xfrm>
            <a:custGeom>
              <a:avLst/>
              <a:gdLst>
                <a:gd name="T0" fmla="*/ 114 w 304"/>
                <a:gd name="T1" fmla="*/ 3 h 428"/>
                <a:gd name="T2" fmla="*/ 285 w 304"/>
                <a:gd name="T3" fmla="*/ 186 h 428"/>
                <a:gd name="T4" fmla="*/ 260 w 304"/>
                <a:gd name="T5" fmla="*/ 317 h 428"/>
                <a:gd name="T6" fmla="*/ 23 w 304"/>
                <a:gd name="T7" fmla="*/ 311 h 428"/>
                <a:gd name="T8" fmla="*/ 157 w 304"/>
                <a:gd name="T9" fmla="*/ 78 h 428"/>
                <a:gd name="T10" fmla="*/ 112 w 304"/>
                <a:gd name="T11" fmla="*/ 7 h 428"/>
                <a:gd name="T12" fmla="*/ 114 w 304"/>
                <a:gd name="T13" fmla="*/ 3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4" h="428">
                  <a:moveTo>
                    <a:pt x="114" y="3"/>
                  </a:moveTo>
                  <a:cubicBezTo>
                    <a:pt x="195" y="35"/>
                    <a:pt x="259" y="102"/>
                    <a:pt x="285" y="186"/>
                  </a:cubicBezTo>
                  <a:cubicBezTo>
                    <a:pt x="285" y="186"/>
                    <a:pt x="304" y="256"/>
                    <a:pt x="260" y="317"/>
                  </a:cubicBezTo>
                  <a:cubicBezTo>
                    <a:pt x="180" y="428"/>
                    <a:pt x="37" y="388"/>
                    <a:pt x="23" y="311"/>
                  </a:cubicBezTo>
                  <a:cubicBezTo>
                    <a:pt x="0" y="188"/>
                    <a:pt x="170" y="200"/>
                    <a:pt x="157" y="78"/>
                  </a:cubicBezTo>
                  <a:cubicBezTo>
                    <a:pt x="153" y="48"/>
                    <a:pt x="134" y="23"/>
                    <a:pt x="112" y="7"/>
                  </a:cubicBezTo>
                  <a:cubicBezTo>
                    <a:pt x="103" y="1"/>
                    <a:pt x="105" y="0"/>
                    <a:pt x="114" y="3"/>
                  </a:cubicBezTo>
                  <a:close/>
                </a:path>
              </a:pathLst>
            </a:custGeom>
            <a:solidFill>
              <a:srgbClr val="167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B46A825C-695A-41D9-BCDA-F0265B4CC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3847" y="3098800"/>
              <a:ext cx="1182688" cy="1371600"/>
            </a:xfrm>
            <a:custGeom>
              <a:avLst/>
              <a:gdLst>
                <a:gd name="T0" fmla="*/ 113 w 314"/>
                <a:gd name="T1" fmla="*/ 361 h 364"/>
                <a:gd name="T2" fmla="*/ 111 w 314"/>
                <a:gd name="T3" fmla="*/ 357 h 364"/>
                <a:gd name="T4" fmla="*/ 135 w 314"/>
                <a:gd name="T5" fmla="*/ 302 h 364"/>
                <a:gd name="T6" fmla="*/ 8 w 314"/>
                <a:gd name="T7" fmla="*/ 155 h 364"/>
                <a:gd name="T8" fmla="*/ 80 w 314"/>
                <a:gd name="T9" fmla="*/ 20 h 364"/>
                <a:gd name="T10" fmla="*/ 33 w 314"/>
                <a:gd name="T11" fmla="*/ 125 h 364"/>
                <a:gd name="T12" fmla="*/ 270 w 314"/>
                <a:gd name="T13" fmla="*/ 131 h 364"/>
                <a:gd name="T14" fmla="*/ 295 w 314"/>
                <a:gd name="T15" fmla="*/ 0 h 364"/>
                <a:gd name="T16" fmla="*/ 309 w 314"/>
                <a:gd name="T17" fmla="*/ 87 h 364"/>
                <a:gd name="T18" fmla="*/ 113 w 314"/>
                <a:gd name="T19" fmla="*/ 361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4" h="364">
                  <a:moveTo>
                    <a:pt x="113" y="361"/>
                  </a:moveTo>
                  <a:cubicBezTo>
                    <a:pt x="104" y="364"/>
                    <a:pt x="103" y="363"/>
                    <a:pt x="111" y="357"/>
                  </a:cubicBezTo>
                  <a:cubicBezTo>
                    <a:pt x="125" y="346"/>
                    <a:pt x="138" y="327"/>
                    <a:pt x="135" y="302"/>
                  </a:cubicBezTo>
                  <a:cubicBezTo>
                    <a:pt x="126" y="231"/>
                    <a:pt x="24" y="241"/>
                    <a:pt x="8" y="155"/>
                  </a:cubicBezTo>
                  <a:cubicBezTo>
                    <a:pt x="0" y="114"/>
                    <a:pt x="17" y="66"/>
                    <a:pt x="80" y="20"/>
                  </a:cubicBezTo>
                  <a:cubicBezTo>
                    <a:pt x="49" y="45"/>
                    <a:pt x="23" y="73"/>
                    <a:pt x="33" y="125"/>
                  </a:cubicBezTo>
                  <a:cubicBezTo>
                    <a:pt x="47" y="202"/>
                    <a:pt x="190" y="242"/>
                    <a:pt x="270" y="131"/>
                  </a:cubicBezTo>
                  <a:cubicBezTo>
                    <a:pt x="314" y="70"/>
                    <a:pt x="295" y="0"/>
                    <a:pt x="295" y="0"/>
                  </a:cubicBezTo>
                  <a:cubicBezTo>
                    <a:pt x="304" y="27"/>
                    <a:pt x="309" y="57"/>
                    <a:pt x="309" y="87"/>
                  </a:cubicBezTo>
                  <a:cubicBezTo>
                    <a:pt x="309" y="214"/>
                    <a:pt x="227" y="322"/>
                    <a:pt x="113" y="361"/>
                  </a:cubicBezTo>
                  <a:close/>
                </a:path>
              </a:pathLst>
            </a:custGeom>
            <a:solidFill>
              <a:srgbClr val="1D3B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extLst>
      <p:ext uri="{BB962C8B-B14F-4D97-AF65-F5344CB8AC3E}">
        <p14:creationId xmlns:p14="http://schemas.microsoft.com/office/powerpoint/2010/main" val="12574071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S Internal 6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2">
            <a:extLst>
              <a:ext uri="{FF2B5EF4-FFF2-40B4-BE49-F238E27FC236}">
                <a16:creationId xmlns:a16="http://schemas.microsoft.com/office/drawing/2014/main" id="{791688A6-CF45-7449-9CB2-A24896AFBAC5}"/>
              </a:ext>
            </a:extLst>
          </p:cNvPr>
          <p:cNvSpPr/>
          <p:nvPr userDrawn="1"/>
        </p:nvSpPr>
        <p:spPr>
          <a:xfrm>
            <a:off x="5223143" y="386"/>
            <a:ext cx="6966032" cy="6857615"/>
          </a:xfrm>
          <a:custGeom>
            <a:avLst/>
            <a:gdLst/>
            <a:ahLst/>
            <a:cxnLst/>
            <a:rect l="l" t="t" r="r" b="b"/>
            <a:pathLst>
              <a:path w="11489690" h="11308715">
                <a:moveTo>
                  <a:pt x="0" y="11308556"/>
                </a:moveTo>
                <a:lnTo>
                  <a:pt x="11489178" y="11308556"/>
                </a:lnTo>
                <a:lnTo>
                  <a:pt x="11489178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3202" y="975908"/>
            <a:ext cx="3688457" cy="1026498"/>
          </a:xfrm>
        </p:spPr>
        <p:txBody>
          <a:bodyPr>
            <a:noAutofit/>
          </a:bodyPr>
          <a:lstStyle>
            <a:lvl1pPr>
              <a:lnSpc>
                <a:spcPts val="4001"/>
              </a:lnSpc>
              <a:spcBef>
                <a:spcPts val="0"/>
              </a:spcBef>
              <a:defRPr sz="4244" kern="1200" spc="-6" baseline="0"/>
            </a:lvl1pPr>
          </a:lstStyle>
          <a:p>
            <a:r>
              <a:rPr lang="en-US" dirty="0"/>
              <a:t>Page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8" y="304972"/>
            <a:ext cx="3688378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Section 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3551FB62-DBA4-F947-B9F2-3141E9F104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84CD10-14F1-4C4A-B3C8-DAA6EA25BA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1441" y="2225674"/>
            <a:ext cx="3695916" cy="4049917"/>
          </a:xfrm>
        </p:spPr>
        <p:txBody>
          <a:bodyPr/>
          <a:lstStyle>
            <a:lvl1pPr>
              <a:lnSpc>
                <a:spcPts val="2364"/>
              </a:lnSpc>
              <a:spcBef>
                <a:spcPts val="485"/>
              </a:spcBef>
              <a:spcAft>
                <a:spcPts val="485"/>
              </a:spcAft>
              <a:defRPr sz="212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461" indent="-443461">
              <a:lnSpc>
                <a:spcPts val="2364"/>
              </a:lnSpc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7163" indent="-277163">
              <a:spcAft>
                <a:spcPts val="485"/>
              </a:spcAft>
              <a:buFont typeface="System Font Regular"/>
              <a:buChar char="→"/>
              <a:defRPr sz="1455"/>
            </a:lvl4pPr>
            <a:lvl5pPr marL="0">
              <a:spcAft>
                <a:spcPts val="485"/>
              </a:spcAft>
              <a:defRPr sz="1455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dirty="0"/>
              <a:t>First leve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E2E6038-721A-CE45-850C-F99F94440DD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94510" y="989617"/>
            <a:ext cx="4658395" cy="4380109"/>
          </a:xfrm>
        </p:spPr>
        <p:txBody>
          <a:bodyPr/>
          <a:lstStyle/>
          <a:p>
            <a:endParaRPr lang="en-US"/>
          </a:p>
        </p:txBody>
      </p:sp>
      <p:sp>
        <p:nvSpPr>
          <p:cNvPr id="13" name="Holder 6">
            <a:extLst>
              <a:ext uri="{FF2B5EF4-FFF2-40B4-BE49-F238E27FC236}">
                <a16:creationId xmlns:a16="http://schemas.microsoft.com/office/drawing/2014/main" id="{CEE9BD36-3C6B-FA47-93F9-9F7D70B7DC1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0821BEA-DDFB-B648-A500-7B808FD005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146440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12" orient="horz" pos="6519">
          <p15:clr>
            <a:srgbClr val="FBAE40"/>
          </p15:clr>
        </p15:guide>
        <p15:guide id="13" orient="horz" pos="2314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S Internal 7 [2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2">
            <a:extLst>
              <a:ext uri="{FF2B5EF4-FFF2-40B4-BE49-F238E27FC236}">
                <a16:creationId xmlns:a16="http://schemas.microsoft.com/office/drawing/2014/main" id="{791688A6-CF45-7449-9CB2-A24896AFBAC5}"/>
              </a:ext>
            </a:extLst>
          </p:cNvPr>
          <p:cNvSpPr/>
          <p:nvPr userDrawn="1"/>
        </p:nvSpPr>
        <p:spPr>
          <a:xfrm>
            <a:off x="5223143" y="386"/>
            <a:ext cx="6966032" cy="6857615"/>
          </a:xfrm>
          <a:custGeom>
            <a:avLst/>
            <a:gdLst/>
            <a:ahLst/>
            <a:cxnLst/>
            <a:rect l="l" t="t" r="r" b="b"/>
            <a:pathLst>
              <a:path w="11489690" h="11308715">
                <a:moveTo>
                  <a:pt x="0" y="11308556"/>
                </a:moveTo>
                <a:lnTo>
                  <a:pt x="11489178" y="11308556"/>
                </a:lnTo>
                <a:lnTo>
                  <a:pt x="11489178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3202" y="975908"/>
            <a:ext cx="3688457" cy="1026498"/>
          </a:xfrm>
        </p:spPr>
        <p:txBody>
          <a:bodyPr>
            <a:noAutofit/>
          </a:bodyPr>
          <a:lstStyle>
            <a:lvl1pPr>
              <a:lnSpc>
                <a:spcPts val="4001"/>
              </a:lnSpc>
              <a:spcBef>
                <a:spcPts val="0"/>
              </a:spcBef>
              <a:defRPr sz="4244" kern="1200" spc="-6" baseline="0"/>
            </a:lvl1pPr>
          </a:lstStyle>
          <a:p>
            <a:r>
              <a:rPr lang="en-US" dirty="0"/>
              <a:t>Page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8" y="304972"/>
            <a:ext cx="3688378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3551FB62-DBA4-F947-B9F2-3141E9F1047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4884DE-8BE0-0E46-8822-8233FD895B1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92185" y="2225673"/>
            <a:ext cx="4660720" cy="4056732"/>
          </a:xfrm>
        </p:spPr>
        <p:txBody>
          <a:bodyPr>
            <a:normAutofit/>
          </a:bodyPr>
          <a:lstStyle>
            <a:lvl1pPr marL="443461" indent="-443461">
              <a:lnSpc>
                <a:spcPct val="100000"/>
              </a:lnSpc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212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461" indent="0">
              <a:spcBef>
                <a:spcPts val="485"/>
              </a:spcBef>
              <a:spcAft>
                <a:spcPts val="1092"/>
              </a:spcAft>
              <a:buFont typeface="System Font Regular"/>
              <a:buNone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461" indent="-221730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145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84CD10-14F1-4C4A-B3C8-DAA6EA25BA1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41" y="2225674"/>
            <a:ext cx="3695916" cy="4049917"/>
          </a:xfrm>
        </p:spPr>
        <p:txBody>
          <a:bodyPr/>
          <a:lstStyle>
            <a:lvl1pPr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defRPr sz="2121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461" indent="-443461"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1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7163" indent="-277163"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Holder 6">
            <a:extLst>
              <a:ext uri="{FF2B5EF4-FFF2-40B4-BE49-F238E27FC236}">
                <a16:creationId xmlns:a16="http://schemas.microsoft.com/office/drawing/2014/main" id="{C95EDC03-31B7-804E-AEDD-359A186FE21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28F73E6-AF80-9445-B5C5-CF00EC51B18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69549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12" orient="horz" pos="6519">
          <p15:clr>
            <a:srgbClr val="FBAE40"/>
          </p15:clr>
        </p15:guide>
        <p15:guide id="13" orient="horz" pos="2314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S Internal 8 [2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2">
            <a:extLst>
              <a:ext uri="{FF2B5EF4-FFF2-40B4-BE49-F238E27FC236}">
                <a16:creationId xmlns:a16="http://schemas.microsoft.com/office/drawing/2014/main" id="{791688A6-CF45-7449-9CB2-A24896AFBAC5}"/>
              </a:ext>
            </a:extLst>
          </p:cNvPr>
          <p:cNvSpPr/>
          <p:nvPr userDrawn="1"/>
        </p:nvSpPr>
        <p:spPr>
          <a:xfrm>
            <a:off x="5221515" y="1"/>
            <a:ext cx="6966032" cy="6857615"/>
          </a:xfrm>
          <a:custGeom>
            <a:avLst/>
            <a:gdLst/>
            <a:ahLst/>
            <a:cxnLst/>
            <a:rect l="l" t="t" r="r" b="b"/>
            <a:pathLst>
              <a:path w="11489690" h="11308715">
                <a:moveTo>
                  <a:pt x="0" y="11308556"/>
                </a:moveTo>
                <a:lnTo>
                  <a:pt x="11489178" y="11308556"/>
                </a:lnTo>
                <a:lnTo>
                  <a:pt x="11489178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8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pic>
        <p:nvPicPr>
          <p:cNvPr id="15" name="Picture 14" descr="A picture containing wheel&#10;&#10;Description automatically generated">
            <a:extLst>
              <a:ext uri="{FF2B5EF4-FFF2-40B4-BE49-F238E27FC236}">
                <a16:creationId xmlns:a16="http://schemas.microsoft.com/office/drawing/2014/main" id="{7525D4D8-0C2C-4740-92DB-9F85C07F0DC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B4CF491-4EFB-084D-A61D-19BB5F745BC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369285" y="975909"/>
            <a:ext cx="4662552" cy="5285897"/>
          </a:xfrm>
        </p:spPr>
        <p:txBody>
          <a:bodyPr>
            <a:normAutofit/>
          </a:bodyPr>
          <a:lstStyle>
            <a:lvl1pPr marL="0" indent="0">
              <a:lnSpc>
                <a:spcPts val="4001"/>
              </a:lnSpc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4244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461" indent="-443461">
              <a:lnSpc>
                <a:spcPct val="100000"/>
              </a:lnSpc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2121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461" indent="-44346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97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83CE846-9DEF-F54D-B67D-F1527206089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191693" y="975908"/>
            <a:ext cx="4661212" cy="529952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2121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461" indent="-443461"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1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461" indent="-44346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97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12" name="Holder 6">
            <a:extLst>
              <a:ext uri="{FF2B5EF4-FFF2-40B4-BE49-F238E27FC236}">
                <a16:creationId xmlns:a16="http://schemas.microsoft.com/office/drawing/2014/main" id="{5568332A-3C71-D54E-B118-FE100A550DC1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6FB4913-1BE1-2E46-929D-DB8BDFE78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7809287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4" orient="horz" pos="1021">
          <p15:clr>
            <a:srgbClr val="FBAE40"/>
          </p15:clr>
        </p15:guide>
      </p15:sldGuideLst>
    </p:ext>
  </p:extLs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S Internal 9 [3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8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1950353"/>
            <a:ext cx="3690219" cy="482875"/>
          </a:xfrm>
        </p:spPr>
        <p:txBody>
          <a:bodyPr tIns="9144">
            <a:noAutofit/>
          </a:bodyPr>
          <a:lstStyle>
            <a:lvl1pPr marL="0">
              <a:lnSpc>
                <a:spcPts val="4001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One 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6455" y="1950353"/>
            <a:ext cx="3695916" cy="482875"/>
          </a:xfrm>
        </p:spPr>
        <p:txBody>
          <a:bodyPr tIns="9144">
            <a:noAutofit/>
          </a:bodyPr>
          <a:lstStyle>
            <a:lvl1pPr marL="0">
              <a:lnSpc>
                <a:spcPts val="4001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One 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32864" y="1950353"/>
            <a:ext cx="3690220" cy="482875"/>
          </a:xfrm>
        </p:spPr>
        <p:txBody>
          <a:bodyPr tIns="9144">
            <a:noAutofit/>
          </a:bodyPr>
          <a:lstStyle>
            <a:lvl1pPr marL="0">
              <a:lnSpc>
                <a:spcPts val="4001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One line 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C1BE46A8-5E78-D540-B7A4-A3ABB3FA14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1385658-B7C9-D440-949B-D94D13F175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40" y="2739197"/>
            <a:ext cx="3690220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AEE4267-A41A-5140-83CE-41FEC571290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39447" y="2739197"/>
            <a:ext cx="3695917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62572B3-F251-1D45-8BFA-4003EE28528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8851" y="2739197"/>
            <a:ext cx="3690220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Holder 6">
            <a:extLst>
              <a:ext uri="{FF2B5EF4-FFF2-40B4-BE49-F238E27FC236}">
                <a16:creationId xmlns:a16="http://schemas.microsoft.com/office/drawing/2014/main" id="{097D15B3-42A8-6D4C-ABF7-5CA7BA9BCAE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59DAEC1-F79B-5447-9B9D-9E08CD7E64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251839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519">
          <p15:clr>
            <a:srgbClr val="FBAE40"/>
          </p15:clr>
        </p15:guide>
        <p15:guide id="12" orient="horz" pos="2026">
          <p15:clr>
            <a:srgbClr val="FBAE40"/>
          </p15:clr>
        </p15:guide>
        <p15:guide id="13" orient="horz" pos="2842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7" orient="horz" pos="643">
          <p15:clr>
            <a:srgbClr val="FBAE40"/>
          </p15:clr>
        </p15:guide>
      </p15:sldGuideLst>
    </p:ext>
  </p:extLs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S Internal 10 [3 Column 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8" y="304972"/>
            <a:ext cx="3614529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4036709"/>
            <a:ext cx="3690219" cy="621498"/>
          </a:xfrm>
        </p:spPr>
        <p:txBody>
          <a:bodyPr tIns="9144">
            <a:noAutofit/>
          </a:bodyPr>
          <a:lstStyle>
            <a:lvl1pPr marL="5543">
              <a:lnSpc>
                <a:spcPts val="4001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One 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6455" y="4036709"/>
            <a:ext cx="3695916" cy="621498"/>
          </a:xfrm>
        </p:spPr>
        <p:txBody>
          <a:bodyPr tIns="9144">
            <a:noAutofit/>
          </a:bodyPr>
          <a:lstStyle>
            <a:lvl1pPr marL="5543">
              <a:lnSpc>
                <a:spcPts val="4001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One 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27168" y="4036709"/>
            <a:ext cx="3695916" cy="621498"/>
          </a:xfrm>
        </p:spPr>
        <p:txBody>
          <a:bodyPr tIns="9144">
            <a:noAutofit/>
          </a:bodyPr>
          <a:lstStyle>
            <a:lvl1pPr marL="5543">
              <a:lnSpc>
                <a:spcPts val="4001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One line title</a:t>
            </a:r>
          </a:p>
        </p:txBody>
      </p:sp>
      <p:pic>
        <p:nvPicPr>
          <p:cNvPr id="18" name="Picture 17" descr="A picture containing wheel&#10;&#10;Description automatically generated">
            <a:extLst>
              <a:ext uri="{FF2B5EF4-FFF2-40B4-BE49-F238E27FC236}">
                <a16:creationId xmlns:a16="http://schemas.microsoft.com/office/drawing/2014/main" id="{C2157615-D9F9-6940-8E15-578A5562F2E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CC0ECDD-BAC6-C443-B041-A212411416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40" y="4907648"/>
            <a:ext cx="3690220" cy="137125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C45F515-B6F2-2B42-A0E4-EF5C046384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21470" y="4907648"/>
            <a:ext cx="3695917" cy="137125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EE0980D-BC13-8F42-956B-E113FBFB24C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43606" y="4907648"/>
            <a:ext cx="3695917" cy="137125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06A6E82-1007-3046-9A83-7E172C222A9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742" y="979990"/>
            <a:ext cx="3695916" cy="2864880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A919393-093C-F948-B8CB-0314CBC5A7C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246455" y="979990"/>
            <a:ext cx="3695916" cy="2864880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9449791-FEF1-D843-BAEC-4498C148369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7168" y="979990"/>
            <a:ext cx="3695916" cy="2864880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Holder 6">
            <a:extLst>
              <a:ext uri="{FF2B5EF4-FFF2-40B4-BE49-F238E27FC236}">
                <a16:creationId xmlns:a16="http://schemas.microsoft.com/office/drawing/2014/main" id="{A8425E57-4C38-AD4D-A99A-FFF14F177D4C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83B4DCA-1D25-D441-88B5-74DD837EC8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74242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3" orient="horz" pos="5098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6" orient="horz" pos="4186">
          <p15:clr>
            <a:srgbClr val="FBAE4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S Internal 11 [4 Column 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8" y="304972"/>
            <a:ext cx="3690142" cy="307949"/>
          </a:xfrm>
        </p:spPr>
        <p:txBody>
          <a:bodyPr/>
          <a:lstStyle>
            <a:lvl1pPr marL="0">
              <a:spcBef>
                <a:spcPts val="0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40" y="3216060"/>
            <a:ext cx="2720040" cy="518848"/>
          </a:xfrm>
        </p:spPr>
        <p:txBody>
          <a:bodyPr tIns="9144">
            <a:normAutofit/>
          </a:bodyPr>
          <a:lstStyle>
            <a:lvl1pPr marL="0">
              <a:lnSpc>
                <a:spcPts val="4001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1218" y="3216060"/>
            <a:ext cx="2720040" cy="518848"/>
          </a:xfrm>
        </p:spPr>
        <p:txBody>
          <a:bodyPr tIns="9144">
            <a:normAutofit/>
          </a:bodyPr>
          <a:lstStyle>
            <a:lvl1pPr marL="0">
              <a:lnSpc>
                <a:spcPts val="4001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01196" y="3216060"/>
            <a:ext cx="2720040" cy="518848"/>
          </a:xfrm>
        </p:spPr>
        <p:txBody>
          <a:bodyPr tIns="9144">
            <a:normAutofit/>
          </a:bodyPr>
          <a:lstStyle>
            <a:lvl1pPr marL="0">
              <a:lnSpc>
                <a:spcPts val="4001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A76F70D-96D0-104C-A023-D33CFDD6D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77570" y="3216060"/>
            <a:ext cx="2720040" cy="518848"/>
          </a:xfrm>
        </p:spPr>
        <p:txBody>
          <a:bodyPr tIns="9144">
            <a:normAutofit/>
          </a:bodyPr>
          <a:lstStyle>
            <a:lvl1pPr marL="0">
              <a:lnSpc>
                <a:spcPts val="4001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pic>
        <p:nvPicPr>
          <p:cNvPr id="58" name="Picture 57" descr="A picture containing wheel&#10;&#10;Description automatically generated">
            <a:extLst>
              <a:ext uri="{FF2B5EF4-FFF2-40B4-BE49-F238E27FC236}">
                <a16:creationId xmlns:a16="http://schemas.microsoft.com/office/drawing/2014/main" id="{C45FBAE5-9C69-3D4D-8D0B-EB30E418B76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F17BD89D-839A-7F43-BFE4-3C3D5BC838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3470" y="3992351"/>
            <a:ext cx="2717740" cy="229209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33812876-F3D0-BF4A-ABF9-0D0626AF4A5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77111" y="3992351"/>
            <a:ext cx="2717740" cy="229209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A0301BE8-9C73-E74B-9FBD-9CB850EE381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8267" y="3992351"/>
            <a:ext cx="2717740" cy="229209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65512032-830E-4547-A341-F62A78C8D2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5754" y="3992351"/>
            <a:ext cx="2717740" cy="229209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6EC01602-C819-B34F-9755-15789967040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742" y="979989"/>
            <a:ext cx="2717740" cy="1978628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9A26958C-B51A-144D-BBBB-32201A2BDD5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276277" y="979989"/>
            <a:ext cx="2717740" cy="1978628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8D8F022D-5556-254C-A105-8AB0AD2A5F9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186810" y="979989"/>
            <a:ext cx="2717740" cy="1978628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6AB2F741-53F4-BE48-A8FC-622B74F6625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097345" y="979989"/>
            <a:ext cx="2717740" cy="1978628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Holder 6">
            <a:extLst>
              <a:ext uri="{FF2B5EF4-FFF2-40B4-BE49-F238E27FC236}">
                <a16:creationId xmlns:a16="http://schemas.microsoft.com/office/drawing/2014/main" id="{AD7DD2E0-71A1-1D4E-9B38-473F805C0EE4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14B79C3-514A-814E-B989-A219DC3ADEB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6242396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2" orient="horz" pos="3322">
          <p15:clr>
            <a:srgbClr val="FBAE40"/>
          </p15:clr>
        </p15:guide>
        <p15:guide id="13" orient="horz" pos="4138">
          <p15:clr>
            <a:srgbClr val="FBAE40"/>
          </p15:clr>
        </p15:guide>
        <p15:guide id="14" orient="horz" pos="5603">
          <p15:clr>
            <a:srgbClr val="FBAE40"/>
          </p15:clr>
        </p15:guide>
        <p15:guide id="17" orient="horz" pos="298">
          <p15:clr>
            <a:srgbClr val="FBAE40"/>
          </p15:clr>
        </p15:guide>
      </p15:sldGuideLst>
    </p:ext>
  </p:extLs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S Internal 12 [4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6C723557-140B-294B-883B-2674F360C7C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194511" y="4074895"/>
            <a:ext cx="2697865" cy="2190247"/>
          </a:xfrm>
        </p:spPr>
        <p:txBody>
          <a:bodyPr>
            <a:noAutofit/>
          </a:bodyPr>
          <a:lstStyle>
            <a:lvl1pPr marL="443461" indent="-44346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1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461" indent="-443461"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1455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461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sz="145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8" y="304972"/>
            <a:ext cx="3690142" cy="307949"/>
          </a:xfrm>
        </p:spPr>
        <p:txBody>
          <a:bodyPr/>
          <a:lstStyle>
            <a:lvl1pPr marL="0">
              <a:spcBef>
                <a:spcPts val="0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40" y="975909"/>
            <a:ext cx="2720040" cy="1032097"/>
          </a:xfrm>
        </p:spPr>
        <p:txBody>
          <a:bodyPr tIns="9144">
            <a:noAutofit/>
          </a:bodyPr>
          <a:lstStyle>
            <a:lvl1pPr marL="5543">
              <a:lnSpc>
                <a:spcPts val="4001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Two 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4512" y="975909"/>
            <a:ext cx="2697864" cy="1032097"/>
          </a:xfrm>
        </p:spPr>
        <p:txBody>
          <a:bodyPr tIns="9144">
            <a:noAutofit/>
          </a:bodyPr>
          <a:lstStyle>
            <a:lvl1pPr marL="5543">
              <a:lnSpc>
                <a:spcPts val="4001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Two 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97344" y="975909"/>
            <a:ext cx="2722197" cy="1032097"/>
          </a:xfrm>
        </p:spPr>
        <p:txBody>
          <a:bodyPr tIns="9144">
            <a:noAutofit/>
          </a:bodyPr>
          <a:lstStyle>
            <a:lvl1pPr marL="5543">
              <a:lnSpc>
                <a:spcPts val="4001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Two line titl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A76F70D-96D0-104C-A023-D33CFDD6D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04149" y="975909"/>
            <a:ext cx="2697865" cy="1032097"/>
          </a:xfrm>
        </p:spPr>
        <p:txBody>
          <a:bodyPr tIns="9144">
            <a:noAutofit/>
          </a:bodyPr>
          <a:lstStyle>
            <a:lvl1pPr marL="5543">
              <a:lnSpc>
                <a:spcPts val="4001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Two line title</a:t>
            </a:r>
          </a:p>
        </p:txBody>
      </p:sp>
      <p:pic>
        <p:nvPicPr>
          <p:cNvPr id="41" name="Picture 40" descr="A picture containing wheel&#10;&#10;Description automatically generated">
            <a:extLst>
              <a:ext uri="{FF2B5EF4-FFF2-40B4-BE49-F238E27FC236}">
                <a16:creationId xmlns:a16="http://schemas.microsoft.com/office/drawing/2014/main" id="{58984222-93F8-7048-9ECE-5534D90B02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DBA9D78-C24E-3542-B126-B9D0417DAE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40" y="2226636"/>
            <a:ext cx="2720040" cy="157202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E507EFF1-AFB5-6443-9951-68BA6175945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304149" y="2226636"/>
            <a:ext cx="2697865" cy="157202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D9D058CD-3278-2748-B4B3-C06320E484E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94512" y="2226636"/>
            <a:ext cx="2697865" cy="157202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0F275BCE-FC74-0A46-A675-0F617C1130E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97344" y="2226636"/>
            <a:ext cx="2722197" cy="157202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02606580-C414-C44C-B66A-A3091B3247B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04149" y="4074895"/>
            <a:ext cx="2697865" cy="2190247"/>
          </a:xfrm>
        </p:spPr>
        <p:txBody>
          <a:bodyPr>
            <a:noAutofit/>
          </a:bodyPr>
          <a:lstStyle>
            <a:lvl1pPr marL="443461" indent="-44346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1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461" indent="-443461"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1455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461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sz="145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B4EB9E0-49C9-E34E-A023-1A9483B06B8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71440" y="4074895"/>
            <a:ext cx="2720040" cy="2190247"/>
          </a:xfrm>
        </p:spPr>
        <p:txBody>
          <a:bodyPr>
            <a:noAutofit/>
          </a:bodyPr>
          <a:lstStyle>
            <a:lvl1pPr marL="443461" indent="-44346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1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461" indent="-443461"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1455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461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sz="145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90CDAACA-09B9-C346-9A39-627C1D8A901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97344" y="4074895"/>
            <a:ext cx="2722197" cy="2190247"/>
          </a:xfrm>
        </p:spPr>
        <p:txBody>
          <a:bodyPr>
            <a:noAutofit/>
          </a:bodyPr>
          <a:lstStyle>
            <a:lvl1pPr marL="443461" indent="-44346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1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461" indent="-443461"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1455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461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sz="145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2"/>
            <a:r>
              <a:rPr lang="en-US" dirty="0"/>
              <a:t>Second level</a:t>
            </a:r>
          </a:p>
        </p:txBody>
      </p:sp>
      <p:sp>
        <p:nvSpPr>
          <p:cNvPr id="19" name="Holder 6">
            <a:extLst>
              <a:ext uri="{FF2B5EF4-FFF2-40B4-BE49-F238E27FC236}">
                <a16:creationId xmlns:a16="http://schemas.microsoft.com/office/drawing/2014/main" id="{672AB3D8-585E-B846-AF90-18EE3FECA32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D9DE861A-D6C1-6C4C-A17B-5F1F5338C83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656471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2" orient="horz" pos="4224">
          <p15:clr>
            <a:srgbClr val="FBAE40"/>
          </p15:clr>
        </p15:guide>
        <p15:guide id="13" orient="horz" pos="2313">
          <p15:clr>
            <a:srgbClr val="FBAE40"/>
          </p15:clr>
        </p15:guide>
        <p15:guide id="14" orient="horz" pos="1004">
          <p15:clr>
            <a:srgbClr val="FBAE40"/>
          </p15:clr>
        </p15:guide>
      </p15:sldGuideLst>
    </p:ext>
  </p:extLs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S Internal 13 [6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0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40" y="942638"/>
            <a:ext cx="3690218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Long two </a:t>
            </a:r>
            <a:br>
              <a:rPr lang="en-US" dirty="0"/>
            </a:br>
            <a:r>
              <a:rPr lang="en-US" dirty="0"/>
              <a:t>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6455" y="942638"/>
            <a:ext cx="3695916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Long two </a:t>
            </a:r>
            <a:br>
              <a:rPr lang="en-US" dirty="0"/>
            </a:br>
            <a:r>
              <a:rPr lang="en-US" dirty="0"/>
              <a:t>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27167" y="942638"/>
            <a:ext cx="3692375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Long two </a:t>
            </a:r>
            <a:br>
              <a:rPr lang="en-US" dirty="0"/>
            </a:br>
            <a:r>
              <a:rPr lang="en-US" dirty="0"/>
              <a:t>line titl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85AE1DE9-C4DC-0747-9E4D-B3297B6A5CF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40" y="3770552"/>
            <a:ext cx="3690218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Long two </a:t>
            </a:r>
            <a:br>
              <a:rPr lang="en-US" dirty="0"/>
            </a:br>
            <a:r>
              <a:rPr lang="en-US" dirty="0"/>
              <a:t>line title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38B1B4F7-4313-9A48-94FC-A21951398B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46455" y="3770552"/>
            <a:ext cx="3695916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Long two </a:t>
            </a:r>
            <a:br>
              <a:rPr lang="en-US" dirty="0"/>
            </a:br>
            <a:r>
              <a:rPr lang="en-US" dirty="0"/>
              <a:t>line title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30A0D0DA-ECF4-D546-9966-CE4A8AFD937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27167" y="3770552"/>
            <a:ext cx="3692375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Long two </a:t>
            </a:r>
            <a:br>
              <a:rPr lang="en-US" dirty="0"/>
            </a:br>
            <a:r>
              <a:rPr lang="en-US" dirty="0"/>
              <a:t>line title</a:t>
            </a:r>
          </a:p>
        </p:txBody>
      </p:sp>
      <p:pic>
        <p:nvPicPr>
          <p:cNvPr id="46" name="Picture 45" descr="A picture containing wheel&#10;&#10;Description automatically generated">
            <a:extLst>
              <a:ext uri="{FF2B5EF4-FFF2-40B4-BE49-F238E27FC236}">
                <a16:creationId xmlns:a16="http://schemas.microsoft.com/office/drawing/2014/main" id="{E4223E6B-0F11-0342-8303-C9ED1F4047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CB3DD61E-93BD-3B4E-9A3C-A73A593459B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1439" y="4652197"/>
            <a:ext cx="3690219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273BB677-CF77-3443-83E9-67F96FE1D5B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246455" y="4652197"/>
            <a:ext cx="3695916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85A78AD6-DDEA-B94C-8CDE-8EBD70BE250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7168" y="4652197"/>
            <a:ext cx="3692375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BA4202AB-2831-C540-8D23-D37E42B301D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71439" y="1819242"/>
            <a:ext cx="3690219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F7A92D07-F8E0-BF47-BF8A-45D79F48529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46455" y="1819242"/>
            <a:ext cx="3695916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0790FE8D-1A26-C246-9C82-5A5EFC7F88D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127168" y="1819242"/>
            <a:ext cx="3692375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9" name="Holder 6">
            <a:extLst>
              <a:ext uri="{FF2B5EF4-FFF2-40B4-BE49-F238E27FC236}">
                <a16:creationId xmlns:a16="http://schemas.microsoft.com/office/drawing/2014/main" id="{C9635295-E32A-C549-AE56-00BF937C60AB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E28DE288-1D05-1547-B26F-714639A1DF0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5998824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490">
          <p15:clr>
            <a:srgbClr val="FBAE40"/>
          </p15:clr>
        </p15:guide>
        <p15:guide id="13" orient="horz" pos="1882">
          <p15:clr>
            <a:srgbClr val="FBAE40"/>
          </p15:clr>
        </p15:guide>
        <p15:guide id="14" orient="horz" pos="970">
          <p15:clr>
            <a:srgbClr val="FBAE40"/>
          </p15:clr>
        </p15:guide>
        <p15:guide id="17" orient="horz" pos="4837">
          <p15:clr>
            <a:srgbClr val="FBAE40"/>
          </p15:clr>
        </p15:guide>
        <p15:guide id="20" orient="horz" pos="3917">
          <p15:clr>
            <a:srgbClr val="FBAE40"/>
          </p15:clr>
        </p15:guide>
        <p15:guide id="21" orient="horz" pos="1611">
          <p15:clr>
            <a:srgbClr val="FBAE40"/>
          </p15:clr>
        </p15:guide>
        <p15:guide id="22" orient="horz" pos="4545">
          <p15:clr>
            <a:srgbClr val="FBAE40"/>
          </p15:clr>
        </p15:guide>
        <p15:guide id="23" orient="horz" pos="643">
          <p15:clr>
            <a:srgbClr val="FBAE40"/>
          </p15:clr>
        </p15:guide>
      </p15:sldGuideLst>
    </p:ext>
  </p:extLs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S Internal 14 [6 Grid 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object 9">
            <a:extLst>
              <a:ext uri="{FF2B5EF4-FFF2-40B4-BE49-F238E27FC236}">
                <a16:creationId xmlns:a16="http://schemas.microsoft.com/office/drawing/2014/main" id="{2FB943FF-8B77-BA40-897F-995F9B88CB58}"/>
              </a:ext>
            </a:extLst>
          </p:cNvPr>
          <p:cNvSpPr/>
          <p:nvPr userDrawn="1"/>
        </p:nvSpPr>
        <p:spPr>
          <a:xfrm>
            <a:off x="4195133" y="3521031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4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8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58" name="object 2">
            <a:extLst>
              <a:ext uri="{FF2B5EF4-FFF2-40B4-BE49-F238E27FC236}">
                <a16:creationId xmlns:a16="http://schemas.microsoft.com/office/drawing/2014/main" id="{6BB95872-F51B-D049-8879-0CA8E559C6D6}"/>
              </a:ext>
            </a:extLst>
          </p:cNvPr>
          <p:cNvSpPr/>
          <p:nvPr userDrawn="1"/>
        </p:nvSpPr>
        <p:spPr>
          <a:xfrm>
            <a:off x="371440" y="981453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5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2" spc="-6" baseline="0"/>
          </a:p>
        </p:txBody>
      </p:sp>
      <p:sp>
        <p:nvSpPr>
          <p:cNvPr id="60" name="object 4">
            <a:extLst>
              <a:ext uri="{FF2B5EF4-FFF2-40B4-BE49-F238E27FC236}">
                <a16:creationId xmlns:a16="http://schemas.microsoft.com/office/drawing/2014/main" id="{686A7363-E8B5-374F-99FC-667EB0953A7E}"/>
              </a:ext>
            </a:extLst>
          </p:cNvPr>
          <p:cNvSpPr/>
          <p:nvPr userDrawn="1"/>
        </p:nvSpPr>
        <p:spPr>
          <a:xfrm>
            <a:off x="8002090" y="981453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5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975924-3337-DC45-A059-6916F5829F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6899" y="1114532"/>
            <a:ext cx="1554403" cy="405933"/>
          </a:xfrm>
        </p:spPr>
        <p:txBody>
          <a:bodyPr>
            <a:noAutofit/>
          </a:bodyPr>
          <a:lstStyle>
            <a:lvl1pPr marL="5543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E563CE52-0B2A-FC45-9BA3-B228D53434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5476" y="3676288"/>
            <a:ext cx="1557068" cy="413710"/>
          </a:xfrm>
        </p:spPr>
        <p:txBody>
          <a:bodyPr>
            <a:noAutofit/>
          </a:bodyPr>
          <a:lstStyle>
            <a:lvl1pPr marL="5543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6" name="Text Placeholder 3">
            <a:extLst>
              <a:ext uri="{FF2B5EF4-FFF2-40B4-BE49-F238E27FC236}">
                <a16:creationId xmlns:a16="http://schemas.microsoft.com/office/drawing/2014/main" id="{23B0CCAE-3E3E-524A-9978-45E0360424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79661" y="1114531"/>
            <a:ext cx="1569347" cy="413710"/>
          </a:xfrm>
        </p:spPr>
        <p:txBody>
          <a:bodyPr>
            <a:noAutofit/>
          </a:bodyPr>
          <a:lstStyle>
            <a:lvl1pPr marL="5543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7" name="Text Placeholder 3">
            <a:extLst>
              <a:ext uri="{FF2B5EF4-FFF2-40B4-BE49-F238E27FC236}">
                <a16:creationId xmlns:a16="http://schemas.microsoft.com/office/drawing/2014/main" id="{991E0909-7CF2-C847-9F00-BEB6C298BE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9661" y="3676288"/>
            <a:ext cx="1569347" cy="413710"/>
          </a:xfrm>
        </p:spPr>
        <p:txBody>
          <a:bodyPr>
            <a:noAutofit/>
          </a:bodyPr>
          <a:lstStyle>
            <a:lvl1pPr marL="5543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51CE83B5-6886-844E-8EFD-166FD9A10C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82760" y="3676288"/>
            <a:ext cx="1561370" cy="413710"/>
          </a:xfrm>
        </p:spPr>
        <p:txBody>
          <a:bodyPr>
            <a:noAutofit/>
          </a:bodyPr>
          <a:lstStyle>
            <a:lvl1pPr marL="5543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99160EDD-353C-D041-809C-866103654C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82760" y="1114531"/>
            <a:ext cx="1561370" cy="413710"/>
          </a:xfrm>
        </p:spPr>
        <p:txBody>
          <a:bodyPr>
            <a:noAutofit/>
          </a:bodyPr>
          <a:lstStyle>
            <a:lvl1pPr marL="5543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pic>
        <p:nvPicPr>
          <p:cNvPr id="26" name="Picture 25" descr="A picture containing wheel&#10;&#10;Description automatically generated">
            <a:extLst>
              <a:ext uri="{FF2B5EF4-FFF2-40B4-BE49-F238E27FC236}">
                <a16:creationId xmlns:a16="http://schemas.microsoft.com/office/drawing/2014/main" id="{927658FD-7870-8C4E-B863-4E23D5B797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E7D16D-77CA-754B-860C-AC3D1719D9F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335920" y="1395859"/>
            <a:ext cx="1755561" cy="1755894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DA236BD8-75EF-8444-B8AF-7E2EB9FC37B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16632" y="1395859"/>
            <a:ext cx="1755561" cy="1755894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2D9BD3E9-72E7-C147-A2D4-859F993768B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097344" y="1395859"/>
            <a:ext cx="1755561" cy="1755894"/>
          </a:xfrm>
        </p:spPr>
        <p:txBody>
          <a:bodyPr/>
          <a:lstStyle/>
          <a:p>
            <a:endParaRPr lang="en-US"/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40E6A6F4-B474-FF42-BACD-1144AAD2FDF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335920" y="3983493"/>
            <a:ext cx="1755561" cy="1755894"/>
          </a:xfrm>
        </p:spPr>
        <p:txBody>
          <a:bodyPr/>
          <a:lstStyle/>
          <a:p>
            <a:endParaRPr lang="en-US"/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EB16904F-05C4-FB4E-8E41-DC88FF4657A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216632" y="3983493"/>
            <a:ext cx="1755561" cy="1755894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0CFDD25B-241C-EE4B-99F8-89DA1BAE632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097344" y="3983493"/>
            <a:ext cx="1755561" cy="1755894"/>
          </a:xfrm>
        </p:spPr>
        <p:txBody>
          <a:bodyPr/>
          <a:lstStyle/>
          <a:p>
            <a:endParaRPr lang="en-US"/>
          </a:p>
        </p:txBody>
      </p:sp>
      <p:sp>
        <p:nvSpPr>
          <p:cNvPr id="23" name="Holder 6">
            <a:extLst>
              <a:ext uri="{FF2B5EF4-FFF2-40B4-BE49-F238E27FC236}">
                <a16:creationId xmlns:a16="http://schemas.microsoft.com/office/drawing/2014/main" id="{EA485649-022B-3946-8A30-C2DD152AFF58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2450B02-C863-3241-B588-316C0DF9B8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39116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8">
          <p15:clr>
            <a:srgbClr val="FBAE40"/>
          </p15:clr>
        </p15:guide>
        <p15:guide id="4" orient="horz" pos="6519">
          <p15:clr>
            <a:srgbClr val="FBAE40"/>
          </p15:clr>
        </p15:guide>
        <p15:guide id="12" orient="horz" pos="3648">
          <p15:clr>
            <a:srgbClr val="FBAE40"/>
          </p15:clr>
        </p15:guide>
        <p15:guide id="13" orient="horz" pos="6310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5" orient="horz" pos="638">
          <p15:clr>
            <a:srgbClr val="FBAE40"/>
          </p15:clr>
        </p15:guide>
      </p15:sldGuideLst>
    </p:ext>
  </p:extLs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S Internal 15 [6 Grid 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8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975924-3337-DC45-A059-6916F5829F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6901" y="1114532"/>
            <a:ext cx="1554402" cy="405933"/>
          </a:xfrm>
        </p:spPr>
        <p:txBody>
          <a:bodyPr>
            <a:noAutofit/>
          </a:bodyPr>
          <a:lstStyle>
            <a:lvl1pPr marL="5543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E563CE52-0B2A-FC45-9BA3-B228D53434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5476" y="3676288"/>
            <a:ext cx="1554402" cy="413710"/>
          </a:xfrm>
        </p:spPr>
        <p:txBody>
          <a:bodyPr>
            <a:noAutofit/>
          </a:bodyPr>
          <a:lstStyle>
            <a:lvl1pPr marL="5543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6" name="Text Placeholder 3">
            <a:extLst>
              <a:ext uri="{FF2B5EF4-FFF2-40B4-BE49-F238E27FC236}">
                <a16:creationId xmlns:a16="http://schemas.microsoft.com/office/drawing/2014/main" id="{23B0CCAE-3E3E-524A-9978-45E0360424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79662" y="1114531"/>
            <a:ext cx="1554402" cy="413710"/>
          </a:xfrm>
        </p:spPr>
        <p:txBody>
          <a:bodyPr>
            <a:noAutofit/>
          </a:bodyPr>
          <a:lstStyle>
            <a:lvl1pPr marL="5543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7" name="Text Placeholder 3">
            <a:extLst>
              <a:ext uri="{FF2B5EF4-FFF2-40B4-BE49-F238E27FC236}">
                <a16:creationId xmlns:a16="http://schemas.microsoft.com/office/drawing/2014/main" id="{991E0909-7CF2-C847-9F00-BEB6C298BE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9662" y="3676288"/>
            <a:ext cx="1554402" cy="413710"/>
          </a:xfrm>
        </p:spPr>
        <p:txBody>
          <a:bodyPr>
            <a:noAutofit/>
          </a:bodyPr>
          <a:lstStyle>
            <a:lvl1pPr marL="5543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51CE83B5-6886-844E-8EFD-166FD9A10C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82760" y="3676288"/>
            <a:ext cx="1554402" cy="413710"/>
          </a:xfrm>
        </p:spPr>
        <p:txBody>
          <a:bodyPr>
            <a:noAutofit/>
          </a:bodyPr>
          <a:lstStyle>
            <a:lvl1pPr marL="5543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99160EDD-353C-D041-809C-866103654C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82760" y="1114531"/>
            <a:ext cx="1554402" cy="413710"/>
          </a:xfrm>
        </p:spPr>
        <p:txBody>
          <a:bodyPr>
            <a:noAutofit/>
          </a:bodyPr>
          <a:lstStyle>
            <a:lvl1pPr marL="5543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pic>
        <p:nvPicPr>
          <p:cNvPr id="26" name="Picture 25" descr="A picture containing wheel&#10;&#10;Description automatically generated">
            <a:extLst>
              <a:ext uri="{FF2B5EF4-FFF2-40B4-BE49-F238E27FC236}">
                <a16:creationId xmlns:a16="http://schemas.microsoft.com/office/drawing/2014/main" id="{927658FD-7870-8C4E-B863-4E23D5B7974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C58E151-1E91-6742-A701-F989BA5989E6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335920" y="1395859"/>
            <a:ext cx="1755561" cy="1755894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66064BD3-CA76-104E-A7A1-DA58734314E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16632" y="1395859"/>
            <a:ext cx="1755561" cy="1755894"/>
          </a:xfrm>
        </p:spPr>
        <p:txBody>
          <a:bodyPr/>
          <a:lstStyle/>
          <a:p>
            <a:endParaRPr lang="en-US"/>
          </a:p>
        </p:txBody>
      </p:sp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292133A5-2223-C644-81EC-A20CB5C1C435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097344" y="1395859"/>
            <a:ext cx="1755561" cy="1755894"/>
          </a:xfrm>
        </p:spPr>
        <p:txBody>
          <a:bodyPr/>
          <a:lstStyle/>
          <a:p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AC74EC1A-A5BF-8345-9D58-FFD4BA362BB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335920" y="3983493"/>
            <a:ext cx="1755561" cy="1755894"/>
          </a:xfrm>
        </p:spPr>
        <p:txBody>
          <a:bodyPr/>
          <a:lstStyle/>
          <a:p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3B4E17A9-E459-5A41-81B1-1E8BE3DE7B4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216632" y="3983493"/>
            <a:ext cx="1755561" cy="1755894"/>
          </a:xfrm>
        </p:spPr>
        <p:txBody>
          <a:bodyPr/>
          <a:lstStyle/>
          <a:p>
            <a:endParaRPr lang="en-US"/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ED0F399C-28CE-BE42-A2C8-964D6193FB84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097344" y="3983493"/>
            <a:ext cx="1755561" cy="1755894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Holder 6">
            <a:extLst>
              <a:ext uri="{FF2B5EF4-FFF2-40B4-BE49-F238E27FC236}">
                <a16:creationId xmlns:a16="http://schemas.microsoft.com/office/drawing/2014/main" id="{8E1F3504-BD62-B24E-AC65-38655A6B2AD8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6E1CB1-F6A0-D145-B486-3814B7531D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450368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519">
          <p15:clr>
            <a:srgbClr val="FBAE40"/>
          </p15:clr>
        </p15:guide>
        <p15:guide id="12" orient="horz" pos="3648">
          <p15:clr>
            <a:srgbClr val="FBAE40"/>
          </p15:clr>
        </p15:guide>
        <p15:guide id="13" orient="horz" pos="6310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5" orient="horz" pos="638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B53FF72C-2671-4E30-B333-48587CDAE35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9642145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S Internal 16 [6 Grid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ject 9">
            <a:extLst>
              <a:ext uri="{FF2B5EF4-FFF2-40B4-BE49-F238E27FC236}">
                <a16:creationId xmlns:a16="http://schemas.microsoft.com/office/drawing/2014/main" id="{CB6F4EB2-167E-924A-A56F-B516773A281E}"/>
              </a:ext>
            </a:extLst>
          </p:cNvPr>
          <p:cNvSpPr/>
          <p:nvPr userDrawn="1"/>
        </p:nvSpPr>
        <p:spPr>
          <a:xfrm>
            <a:off x="4195133" y="3521031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4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18" name="object 2">
            <a:extLst>
              <a:ext uri="{FF2B5EF4-FFF2-40B4-BE49-F238E27FC236}">
                <a16:creationId xmlns:a16="http://schemas.microsoft.com/office/drawing/2014/main" id="{8C39E4CC-CB02-2E42-A5BF-1E07B8E526FF}"/>
              </a:ext>
            </a:extLst>
          </p:cNvPr>
          <p:cNvSpPr/>
          <p:nvPr userDrawn="1"/>
        </p:nvSpPr>
        <p:spPr>
          <a:xfrm>
            <a:off x="371440" y="981453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5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2" spc="-6" baseline="0"/>
          </a:p>
        </p:txBody>
      </p:sp>
      <p:sp>
        <p:nvSpPr>
          <p:cNvPr id="19" name="object 4">
            <a:extLst>
              <a:ext uri="{FF2B5EF4-FFF2-40B4-BE49-F238E27FC236}">
                <a16:creationId xmlns:a16="http://schemas.microsoft.com/office/drawing/2014/main" id="{67A8D81B-9F2E-CC43-970C-D25056A531C7}"/>
              </a:ext>
            </a:extLst>
          </p:cNvPr>
          <p:cNvSpPr/>
          <p:nvPr userDrawn="1"/>
        </p:nvSpPr>
        <p:spPr>
          <a:xfrm>
            <a:off x="8002090" y="981453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5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2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CA15B3B0-3924-4040-977E-CF3592326F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5764" y="1316949"/>
            <a:ext cx="3402245" cy="1694655"/>
          </a:xfrm>
        </p:spPr>
        <p:txBody>
          <a:bodyPr tIns="9144" anchor="t"/>
          <a:lstStyle>
            <a:lvl1pPr marL="5543" algn="ctr">
              <a:lnSpc>
                <a:spcPct val="100000"/>
              </a:lnSpc>
              <a:defRPr sz="10973" kern="1200" spc="-6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0%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CB87E6-F251-A049-9C59-BD3496C355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79661" y="4147273"/>
            <a:ext cx="3377914" cy="1684531"/>
          </a:xfrm>
        </p:spPr>
        <p:txBody>
          <a:bodyPr tIns="9144" anchor="t">
            <a:noAutofit/>
          </a:bodyPr>
          <a:lstStyle>
            <a:lvl1pPr marL="5543">
              <a:lnSpc>
                <a:spcPts val="6050"/>
              </a:lnSpc>
              <a:defRPr sz="6001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Highlight phras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8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975924-3337-DC45-A059-6916F5829F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6899" y="1114530"/>
            <a:ext cx="1554403" cy="315726"/>
          </a:xfrm>
        </p:spPr>
        <p:txBody>
          <a:bodyPr>
            <a:noAutofit/>
          </a:bodyPr>
          <a:lstStyle>
            <a:lvl1pPr marL="5543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E563CE52-0B2A-FC45-9BA3-B228D53434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5475" y="3676289"/>
            <a:ext cx="1557283" cy="315726"/>
          </a:xfrm>
        </p:spPr>
        <p:txBody>
          <a:bodyPr>
            <a:noAutofit/>
          </a:bodyPr>
          <a:lstStyle>
            <a:lvl1pPr marL="5543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6" name="Text Placeholder 3">
            <a:extLst>
              <a:ext uri="{FF2B5EF4-FFF2-40B4-BE49-F238E27FC236}">
                <a16:creationId xmlns:a16="http://schemas.microsoft.com/office/drawing/2014/main" id="{23B0CCAE-3E3E-524A-9978-45E0360424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79661" y="1114531"/>
            <a:ext cx="1529955" cy="315726"/>
          </a:xfrm>
        </p:spPr>
        <p:txBody>
          <a:bodyPr>
            <a:noAutofit/>
          </a:bodyPr>
          <a:lstStyle>
            <a:lvl1pPr marL="5543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7" name="Text Placeholder 3">
            <a:extLst>
              <a:ext uri="{FF2B5EF4-FFF2-40B4-BE49-F238E27FC236}">
                <a16:creationId xmlns:a16="http://schemas.microsoft.com/office/drawing/2014/main" id="{991E0909-7CF2-C847-9F00-BEB6C298BE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9661" y="3676289"/>
            <a:ext cx="1529955" cy="315726"/>
          </a:xfrm>
        </p:spPr>
        <p:txBody>
          <a:bodyPr>
            <a:noAutofit/>
          </a:bodyPr>
          <a:lstStyle>
            <a:lvl1pPr marL="5543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51CE83B5-6886-844E-8EFD-166FD9A10C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82760" y="3676289"/>
            <a:ext cx="1554563" cy="315726"/>
          </a:xfrm>
        </p:spPr>
        <p:txBody>
          <a:bodyPr>
            <a:noAutofit/>
          </a:bodyPr>
          <a:lstStyle>
            <a:lvl1pPr marL="5543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99160EDD-353C-D041-809C-866103654C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82760" y="1114533"/>
            <a:ext cx="1554563" cy="315725"/>
          </a:xfrm>
        </p:spPr>
        <p:txBody>
          <a:bodyPr>
            <a:noAutofit/>
          </a:bodyPr>
          <a:lstStyle>
            <a:lvl1pPr marL="5543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AB40A94C-1AD3-ED46-BF7B-8D97FF5972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21" name="Holder 6">
            <a:extLst>
              <a:ext uri="{FF2B5EF4-FFF2-40B4-BE49-F238E27FC236}">
                <a16:creationId xmlns:a16="http://schemas.microsoft.com/office/drawing/2014/main" id="{793E7CA8-1AFA-2047-94FE-E8ADCA55773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1C64CB8-A19B-BF4A-B330-559305A4F7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4683085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1">
          <p15:clr>
            <a:srgbClr val="FBAE40"/>
          </p15:clr>
        </p15:guide>
        <p15:guide id="4" orient="horz" pos="6301">
          <p15:clr>
            <a:srgbClr val="FBAE40"/>
          </p15:clr>
        </p15:guide>
        <p15:guide id="12" orient="horz" pos="3648">
          <p15:clr>
            <a:srgbClr val="FBAE40"/>
          </p15:clr>
        </p15:guide>
        <p15:guide id="13" orient="horz" pos="6538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S Internal 16 [Char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1439" y="975908"/>
            <a:ext cx="3690219" cy="1026498"/>
          </a:xfrm>
        </p:spPr>
        <p:txBody>
          <a:bodyPr>
            <a:normAutofit/>
          </a:bodyPr>
          <a:lstStyle>
            <a:lvl1pPr>
              <a:lnSpc>
                <a:spcPts val="4001"/>
              </a:lnSpc>
              <a:spcBef>
                <a:spcPts val="0"/>
              </a:spcBef>
              <a:defRPr sz="4244" kern="1200" spc="-6" baseline="0"/>
            </a:lvl1pPr>
          </a:lstStyle>
          <a:p>
            <a:r>
              <a:rPr lang="en-US" dirty="0"/>
              <a:t>Page</a:t>
            </a:r>
            <a:br>
              <a:rPr lang="en-US" dirty="0"/>
            </a:br>
            <a:r>
              <a:rPr lang="en-US" dirty="0"/>
              <a:t>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8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pic>
        <p:nvPicPr>
          <p:cNvPr id="14" name="Picture 13" descr="A picture containing wheel&#10;&#10;Description automatically generated">
            <a:extLst>
              <a:ext uri="{FF2B5EF4-FFF2-40B4-BE49-F238E27FC236}">
                <a16:creationId xmlns:a16="http://schemas.microsoft.com/office/drawing/2014/main" id="{FA964E1C-29FE-CC47-AD3A-9F6F12CBCB7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014ADE9-D192-B443-A631-7EE356D847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40" y="2237226"/>
            <a:ext cx="3680646" cy="404518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163" indent="-277163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1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10" name="Holder 6">
            <a:extLst>
              <a:ext uri="{FF2B5EF4-FFF2-40B4-BE49-F238E27FC236}">
                <a16:creationId xmlns:a16="http://schemas.microsoft.com/office/drawing/2014/main" id="{9123438D-25A5-E341-B9D0-74EE24D5DA5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1097475-D7CE-E946-B865-DEE1391C1B2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2342813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1">
          <p15:clr>
            <a:srgbClr val="FBAE40"/>
          </p15:clr>
        </p15:guide>
        <p15:guide id="4" orient="horz" pos="6519">
          <p15:clr>
            <a:srgbClr val="FBAE40"/>
          </p15:clr>
        </p15:guide>
        <p15:guide id="13" orient="horz" pos="2314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6" orient="horz" pos="5786">
          <p15:clr>
            <a:srgbClr val="FBAE40"/>
          </p15:clr>
        </p15:guide>
      </p15:sldGuideLst>
    </p:ext>
  </p:extLs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S Blank [Titl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ject 2">
            <a:extLst>
              <a:ext uri="{FF2B5EF4-FFF2-40B4-BE49-F238E27FC236}">
                <a16:creationId xmlns:a16="http://schemas.microsoft.com/office/drawing/2014/main" id="{0F5F1BF9-5DED-46BA-A55D-856E7501287C}"/>
              </a:ext>
            </a:extLst>
          </p:cNvPr>
          <p:cNvSpPr/>
          <p:nvPr userDrawn="1"/>
        </p:nvSpPr>
        <p:spPr>
          <a:xfrm>
            <a:off x="0" y="4127653"/>
            <a:ext cx="12188825" cy="2720849"/>
          </a:xfrm>
          <a:custGeom>
            <a:avLst/>
            <a:gdLst/>
            <a:ahLst/>
            <a:cxnLst/>
            <a:rect l="l" t="t" r="r" b="b"/>
            <a:pathLst>
              <a:path w="6272530" h="4217035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2" spc="-6" baseline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8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1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pic>
        <p:nvPicPr>
          <p:cNvPr id="12" name="Picture 11" descr="A picture containing wheel&#10;&#10;Description automatically generated">
            <a:extLst>
              <a:ext uri="{FF2B5EF4-FFF2-40B4-BE49-F238E27FC236}">
                <a16:creationId xmlns:a16="http://schemas.microsoft.com/office/drawing/2014/main" id="{67A925F8-EBE1-4249-9A7E-7FDA35B61A6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8" name="Holder 6">
            <a:extLst>
              <a:ext uri="{FF2B5EF4-FFF2-40B4-BE49-F238E27FC236}">
                <a16:creationId xmlns:a16="http://schemas.microsoft.com/office/drawing/2014/main" id="{81AC0B4F-7AC3-D943-B8AE-E303B1AE318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C64D398-A79C-3046-976A-2D14BB72387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1990840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1">
          <p15:clr>
            <a:srgbClr val="FBAE40"/>
          </p15:clr>
        </p15:guide>
        <p15:guide id="4" orient="horz" pos="6519">
          <p15:clr>
            <a:srgbClr val="FBAE40"/>
          </p15:clr>
        </p15:guide>
        <p15:guide id="6" pos="12284">
          <p15:clr>
            <a:srgbClr val="FBAE40"/>
          </p15:clr>
        </p15:guide>
        <p15:guide id="8" pos="380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5" orient="horz" pos="298">
          <p15:clr>
            <a:srgbClr val="FBAE40"/>
          </p15:clr>
        </p15:guide>
      </p15:sldGuideLst>
    </p:ext>
  </p:extLs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S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wheel&#10;&#10;Description automatically generated">
            <a:extLst>
              <a:ext uri="{FF2B5EF4-FFF2-40B4-BE49-F238E27FC236}">
                <a16:creationId xmlns:a16="http://schemas.microsoft.com/office/drawing/2014/main" id="{1C0F1BE0-4A07-B049-8D29-D7C34331BC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6" name="Holder 6">
            <a:extLst>
              <a:ext uri="{FF2B5EF4-FFF2-40B4-BE49-F238E27FC236}">
                <a16:creationId xmlns:a16="http://schemas.microsoft.com/office/drawing/2014/main" id="{7F736837-DE79-BC4B-90D8-BD4D8AC3695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673D6CF-4FA7-3346-8EC0-4EF729DD6F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570393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6" pos="12284">
          <p15:clr>
            <a:srgbClr val="FBAE40"/>
          </p15:clr>
        </p15:guide>
        <p15:guide id="12" orient="horz" pos="2986">
          <p15:clr>
            <a:srgbClr val="FBAE40"/>
          </p15:clr>
        </p15:guide>
      </p15:sldGuideLst>
    </p:ext>
  </p:extLs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ES Blank [Gray]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wheel&#10;&#10;Description automatically generated">
            <a:extLst>
              <a:ext uri="{FF2B5EF4-FFF2-40B4-BE49-F238E27FC236}">
                <a16:creationId xmlns:a16="http://schemas.microsoft.com/office/drawing/2014/main" id="{1C0F1BE0-4A07-B049-8D29-D7C34331BCC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6" y="6282407"/>
            <a:ext cx="510036" cy="198973"/>
          </a:xfrm>
          <a:prstGeom prst="rect">
            <a:avLst/>
          </a:prstGeom>
        </p:spPr>
      </p:pic>
      <p:sp>
        <p:nvSpPr>
          <p:cNvPr id="6" name="Holder 6">
            <a:extLst>
              <a:ext uri="{FF2B5EF4-FFF2-40B4-BE49-F238E27FC236}">
                <a16:creationId xmlns:a16="http://schemas.microsoft.com/office/drawing/2014/main" id="{7F736837-DE79-BC4B-90D8-BD4D8AC3695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9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 dirty="0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673D6CF-4FA7-3346-8EC0-4EF729DD6F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20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5199265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6" pos="12284">
          <p15:clr>
            <a:srgbClr val="FBAE40"/>
          </p15:clr>
        </p15:guide>
        <p15:guide id="12" orient="horz" pos="2986">
          <p15:clr>
            <a:srgbClr val="FBAE40"/>
          </p15:clr>
        </p15:guide>
      </p15:sldGuideLst>
    </p:ext>
  </p:extLs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el estilo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96E3333-897C-4DD2-9F95-0FCF9B19D479}" type="datetime1">
              <a:rPr lang="es-ES" smtClean="0"/>
              <a:t>04/07/2023</a:t>
            </a:fld>
            <a:endParaRPr lang="es-ES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8C8DD09-94A8-4ECB-9DF8-233454F5FBB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2007891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34A03CA4-5BB5-42DA-89DC-0A35FFAD38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9" y="0"/>
            <a:ext cx="12185905" cy="6858000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AA042A72-7A63-4E88-9FD2-37E44CD7AF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7" y="2456"/>
            <a:ext cx="12187238" cy="6855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22048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64E3EA02-8AAA-4874-8842-6A78965D2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9" y="0"/>
            <a:ext cx="12185905" cy="6858000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8522E429-903D-41C9-B24F-AB0D249EB00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7" y="1788"/>
            <a:ext cx="12185777" cy="6853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359290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6EECD932-0FF8-400C-A348-28220A809B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8" y="0"/>
            <a:ext cx="12188301" cy="6860082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66C1955E-69DC-4392-B52B-4C0F18F9492C}"/>
              </a:ext>
            </a:extLst>
          </p:cNvPr>
          <p:cNvSpPr/>
          <p:nvPr userDrawn="1"/>
        </p:nvSpPr>
        <p:spPr bwMode="auto">
          <a:xfrm>
            <a:off x="1" y="0"/>
            <a:ext cx="12196060" cy="6858001"/>
          </a:xfrm>
          <a:prstGeom prst="rect">
            <a:avLst/>
          </a:prstGeom>
          <a:solidFill>
            <a:schemeClr val="bg1">
              <a:alpha val="54000"/>
            </a:schemeClr>
          </a:soli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595680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36F397AB-ABC6-4194-ABE9-7A052ADE95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0" y="0"/>
            <a:ext cx="1218590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92293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82AB2D6A-6063-4C7B-A59E-E96030848B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082"/>
            <a:ext cx="12188301" cy="6860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431521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86F5C8EC-23B9-4C6B-AE3F-EDE36027F9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74394"/>
            <a:ext cx="12229974" cy="6932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61745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68814105-CA12-4995-9B05-92E58FAAC0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10288" cy="6860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371458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>
            <a:extLst>
              <a:ext uri="{FF2B5EF4-FFF2-40B4-BE49-F238E27FC236}">
                <a16:creationId xmlns:a16="http://schemas.microsoft.com/office/drawing/2014/main" id="{25B11959-7F49-4DFF-8DE6-5A975F85D65B}"/>
              </a:ext>
            </a:extLst>
          </p:cNvPr>
          <p:cNvSpPr/>
          <p:nvPr userDrawn="1"/>
        </p:nvSpPr>
        <p:spPr bwMode="auto">
          <a:xfrm>
            <a:off x="1" y="0"/>
            <a:ext cx="12188825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5000"/>
                </a:schemeClr>
              </a:gs>
              <a:gs pos="26000">
                <a:schemeClr val="bg1">
                  <a:lumMod val="95000"/>
                </a:schemeClr>
              </a:gs>
              <a:gs pos="10000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sz="1799" b="1" dirty="0">
              <a:solidFill>
                <a:schemeClr val="bg1"/>
              </a:solidFill>
            </a:endParaRPr>
          </a:p>
        </p:txBody>
      </p:sp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FFE47DB-5F79-4A27-8217-418BD65A51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FFE47DB-5F79-4A27-8217-418BD65A51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upo 3">
            <a:extLst>
              <a:ext uri="{FF2B5EF4-FFF2-40B4-BE49-F238E27FC236}">
                <a16:creationId xmlns:a16="http://schemas.microsoft.com/office/drawing/2014/main" id="{C9E91BCA-B9E8-46FB-AE76-99D71A158FA8}"/>
              </a:ext>
            </a:extLst>
          </p:cNvPr>
          <p:cNvGrpSpPr/>
          <p:nvPr userDrawn="1"/>
        </p:nvGrpSpPr>
        <p:grpSpPr>
          <a:xfrm>
            <a:off x="11495089" y="231529"/>
            <a:ext cx="486895" cy="488139"/>
            <a:chOff x="6922272" y="2182812"/>
            <a:chExt cx="2486025" cy="2492375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8B5B5BC9-0213-491D-BC36-2165CCE3CD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2272" y="2182812"/>
              <a:ext cx="2486025" cy="24923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799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7D56485-5823-465A-9488-E84C0CEF2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8635" y="2338387"/>
              <a:ext cx="1603375" cy="1679575"/>
            </a:xfrm>
            <a:custGeom>
              <a:avLst/>
              <a:gdLst>
                <a:gd name="T0" fmla="*/ 59 w 426"/>
                <a:gd name="T1" fmla="*/ 446 h 446"/>
                <a:gd name="T2" fmla="*/ 13 w 426"/>
                <a:gd name="T3" fmla="*/ 289 h 446"/>
                <a:gd name="T4" fmla="*/ 302 w 426"/>
                <a:gd name="T5" fmla="*/ 0 h 446"/>
                <a:gd name="T6" fmla="*/ 399 w 426"/>
                <a:gd name="T7" fmla="*/ 24 h 446"/>
                <a:gd name="T8" fmla="*/ 424 w 426"/>
                <a:gd name="T9" fmla="*/ 75 h 446"/>
                <a:gd name="T10" fmla="*/ 205 w 426"/>
                <a:gd name="T11" fmla="*/ 160 h 446"/>
                <a:gd name="T12" fmla="*/ 59 w 426"/>
                <a:gd name="T13" fmla="*/ 446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6" h="446">
                  <a:moveTo>
                    <a:pt x="59" y="446"/>
                  </a:moveTo>
                  <a:cubicBezTo>
                    <a:pt x="29" y="401"/>
                    <a:pt x="13" y="347"/>
                    <a:pt x="13" y="289"/>
                  </a:cubicBezTo>
                  <a:cubicBezTo>
                    <a:pt x="13" y="129"/>
                    <a:pt x="142" y="0"/>
                    <a:pt x="302" y="0"/>
                  </a:cubicBezTo>
                  <a:cubicBezTo>
                    <a:pt x="364" y="0"/>
                    <a:pt x="390" y="17"/>
                    <a:pt x="399" y="24"/>
                  </a:cubicBezTo>
                  <a:cubicBezTo>
                    <a:pt x="415" y="38"/>
                    <a:pt x="426" y="56"/>
                    <a:pt x="424" y="75"/>
                  </a:cubicBezTo>
                  <a:cubicBezTo>
                    <a:pt x="419" y="150"/>
                    <a:pt x="312" y="135"/>
                    <a:pt x="205" y="160"/>
                  </a:cubicBezTo>
                  <a:cubicBezTo>
                    <a:pt x="49" y="197"/>
                    <a:pt x="0" y="332"/>
                    <a:pt x="59" y="446"/>
                  </a:cubicBezTo>
                  <a:close/>
                </a:path>
              </a:pathLst>
            </a:custGeom>
            <a:solidFill>
              <a:srgbClr val="92C0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799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7B906CB3-5A4E-423B-A578-58740CED4E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8635" y="2563812"/>
              <a:ext cx="1616075" cy="1906588"/>
            </a:xfrm>
            <a:custGeom>
              <a:avLst/>
              <a:gdLst>
                <a:gd name="T0" fmla="*/ 423 w 429"/>
                <a:gd name="T1" fmla="*/ 0 h 506"/>
                <a:gd name="T2" fmla="*/ 418 w 429"/>
                <a:gd name="T3" fmla="*/ 55 h 506"/>
                <a:gd name="T4" fmla="*/ 97 w 429"/>
                <a:gd name="T5" fmla="*/ 267 h 506"/>
                <a:gd name="T6" fmla="*/ 208 w 429"/>
                <a:gd name="T7" fmla="*/ 498 h 506"/>
                <a:gd name="T8" fmla="*/ 206 w 429"/>
                <a:gd name="T9" fmla="*/ 503 h 506"/>
                <a:gd name="T10" fmla="*/ 59 w 429"/>
                <a:gd name="T11" fmla="*/ 386 h 506"/>
                <a:gd name="T12" fmla="*/ 205 w 429"/>
                <a:gd name="T13" fmla="*/ 100 h 506"/>
                <a:gd name="T14" fmla="*/ 424 w 429"/>
                <a:gd name="T15" fmla="*/ 15 h 506"/>
                <a:gd name="T16" fmla="*/ 423 w 429"/>
                <a:gd name="T17" fmla="*/ 0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9" h="506">
                  <a:moveTo>
                    <a:pt x="423" y="0"/>
                  </a:moveTo>
                  <a:cubicBezTo>
                    <a:pt x="429" y="22"/>
                    <a:pt x="426" y="39"/>
                    <a:pt x="418" y="55"/>
                  </a:cubicBezTo>
                  <a:cubicBezTo>
                    <a:pt x="363" y="165"/>
                    <a:pt x="148" y="87"/>
                    <a:pt x="97" y="267"/>
                  </a:cubicBezTo>
                  <a:cubicBezTo>
                    <a:pt x="76" y="351"/>
                    <a:pt x="120" y="450"/>
                    <a:pt x="208" y="498"/>
                  </a:cubicBezTo>
                  <a:cubicBezTo>
                    <a:pt x="216" y="503"/>
                    <a:pt x="215" y="506"/>
                    <a:pt x="206" y="503"/>
                  </a:cubicBezTo>
                  <a:cubicBezTo>
                    <a:pt x="145" y="481"/>
                    <a:pt x="93" y="440"/>
                    <a:pt x="59" y="386"/>
                  </a:cubicBezTo>
                  <a:cubicBezTo>
                    <a:pt x="0" y="272"/>
                    <a:pt x="49" y="137"/>
                    <a:pt x="205" y="100"/>
                  </a:cubicBezTo>
                  <a:cubicBezTo>
                    <a:pt x="312" y="75"/>
                    <a:pt x="419" y="90"/>
                    <a:pt x="424" y="15"/>
                  </a:cubicBezTo>
                  <a:cubicBezTo>
                    <a:pt x="425" y="10"/>
                    <a:pt x="424" y="5"/>
                    <a:pt x="423" y="0"/>
                  </a:cubicBezTo>
                  <a:close/>
                </a:path>
              </a:pathLst>
            </a:custGeom>
            <a:solidFill>
              <a:srgbClr val="5C7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799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D868993A-EE66-42CA-8AB1-16F82C0F61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1947" y="2398712"/>
              <a:ext cx="1144588" cy="1612900"/>
            </a:xfrm>
            <a:custGeom>
              <a:avLst/>
              <a:gdLst>
                <a:gd name="T0" fmla="*/ 114 w 304"/>
                <a:gd name="T1" fmla="*/ 3 h 428"/>
                <a:gd name="T2" fmla="*/ 285 w 304"/>
                <a:gd name="T3" fmla="*/ 186 h 428"/>
                <a:gd name="T4" fmla="*/ 260 w 304"/>
                <a:gd name="T5" fmla="*/ 317 h 428"/>
                <a:gd name="T6" fmla="*/ 23 w 304"/>
                <a:gd name="T7" fmla="*/ 311 h 428"/>
                <a:gd name="T8" fmla="*/ 157 w 304"/>
                <a:gd name="T9" fmla="*/ 78 h 428"/>
                <a:gd name="T10" fmla="*/ 112 w 304"/>
                <a:gd name="T11" fmla="*/ 7 h 428"/>
                <a:gd name="T12" fmla="*/ 114 w 304"/>
                <a:gd name="T13" fmla="*/ 3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4" h="428">
                  <a:moveTo>
                    <a:pt x="114" y="3"/>
                  </a:moveTo>
                  <a:cubicBezTo>
                    <a:pt x="195" y="35"/>
                    <a:pt x="259" y="102"/>
                    <a:pt x="285" y="186"/>
                  </a:cubicBezTo>
                  <a:cubicBezTo>
                    <a:pt x="285" y="186"/>
                    <a:pt x="304" y="256"/>
                    <a:pt x="260" y="317"/>
                  </a:cubicBezTo>
                  <a:cubicBezTo>
                    <a:pt x="180" y="428"/>
                    <a:pt x="37" y="388"/>
                    <a:pt x="23" y="311"/>
                  </a:cubicBezTo>
                  <a:cubicBezTo>
                    <a:pt x="0" y="188"/>
                    <a:pt x="170" y="200"/>
                    <a:pt x="157" y="78"/>
                  </a:cubicBezTo>
                  <a:cubicBezTo>
                    <a:pt x="153" y="48"/>
                    <a:pt x="134" y="23"/>
                    <a:pt x="112" y="7"/>
                  </a:cubicBezTo>
                  <a:cubicBezTo>
                    <a:pt x="103" y="1"/>
                    <a:pt x="105" y="0"/>
                    <a:pt x="114" y="3"/>
                  </a:cubicBezTo>
                  <a:close/>
                </a:path>
              </a:pathLst>
            </a:custGeom>
            <a:solidFill>
              <a:srgbClr val="167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799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B7EF9143-BA88-4274-B46B-5456FE0CC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3847" y="3098800"/>
              <a:ext cx="1182688" cy="1371600"/>
            </a:xfrm>
            <a:custGeom>
              <a:avLst/>
              <a:gdLst>
                <a:gd name="T0" fmla="*/ 113 w 314"/>
                <a:gd name="T1" fmla="*/ 361 h 364"/>
                <a:gd name="T2" fmla="*/ 111 w 314"/>
                <a:gd name="T3" fmla="*/ 357 h 364"/>
                <a:gd name="T4" fmla="*/ 135 w 314"/>
                <a:gd name="T5" fmla="*/ 302 h 364"/>
                <a:gd name="T6" fmla="*/ 8 w 314"/>
                <a:gd name="T7" fmla="*/ 155 h 364"/>
                <a:gd name="T8" fmla="*/ 80 w 314"/>
                <a:gd name="T9" fmla="*/ 20 h 364"/>
                <a:gd name="T10" fmla="*/ 33 w 314"/>
                <a:gd name="T11" fmla="*/ 125 h 364"/>
                <a:gd name="T12" fmla="*/ 270 w 314"/>
                <a:gd name="T13" fmla="*/ 131 h 364"/>
                <a:gd name="T14" fmla="*/ 295 w 314"/>
                <a:gd name="T15" fmla="*/ 0 h 364"/>
                <a:gd name="T16" fmla="*/ 309 w 314"/>
                <a:gd name="T17" fmla="*/ 87 h 364"/>
                <a:gd name="T18" fmla="*/ 113 w 314"/>
                <a:gd name="T19" fmla="*/ 361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4" h="364">
                  <a:moveTo>
                    <a:pt x="113" y="361"/>
                  </a:moveTo>
                  <a:cubicBezTo>
                    <a:pt x="104" y="364"/>
                    <a:pt x="103" y="363"/>
                    <a:pt x="111" y="357"/>
                  </a:cubicBezTo>
                  <a:cubicBezTo>
                    <a:pt x="125" y="346"/>
                    <a:pt x="138" y="327"/>
                    <a:pt x="135" y="302"/>
                  </a:cubicBezTo>
                  <a:cubicBezTo>
                    <a:pt x="126" y="231"/>
                    <a:pt x="24" y="241"/>
                    <a:pt x="8" y="155"/>
                  </a:cubicBezTo>
                  <a:cubicBezTo>
                    <a:pt x="0" y="114"/>
                    <a:pt x="17" y="66"/>
                    <a:pt x="80" y="20"/>
                  </a:cubicBezTo>
                  <a:cubicBezTo>
                    <a:pt x="49" y="45"/>
                    <a:pt x="23" y="73"/>
                    <a:pt x="33" y="125"/>
                  </a:cubicBezTo>
                  <a:cubicBezTo>
                    <a:pt x="47" y="202"/>
                    <a:pt x="190" y="242"/>
                    <a:pt x="270" y="131"/>
                  </a:cubicBezTo>
                  <a:cubicBezTo>
                    <a:pt x="314" y="70"/>
                    <a:pt x="295" y="0"/>
                    <a:pt x="295" y="0"/>
                  </a:cubicBezTo>
                  <a:cubicBezTo>
                    <a:pt x="304" y="27"/>
                    <a:pt x="309" y="57"/>
                    <a:pt x="309" y="87"/>
                  </a:cubicBezTo>
                  <a:cubicBezTo>
                    <a:pt x="309" y="214"/>
                    <a:pt x="227" y="322"/>
                    <a:pt x="113" y="361"/>
                  </a:cubicBezTo>
                  <a:close/>
                </a:path>
              </a:pathLst>
            </a:custGeom>
            <a:solidFill>
              <a:srgbClr val="1D3B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799"/>
            </a:p>
          </p:txBody>
        </p:sp>
      </p:grpSp>
    </p:spTree>
    <p:extLst>
      <p:ext uri="{BB962C8B-B14F-4D97-AF65-F5344CB8AC3E}">
        <p14:creationId xmlns:p14="http://schemas.microsoft.com/office/powerpoint/2010/main" val="30939174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E26283C6-C00B-40DC-B942-2EC19D3B1B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893"/>
            <a:ext cx="12188825" cy="6856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058073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0DA9B50-E45F-42F1-80D8-6BE0B722C3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2425" cy="1325563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BA2FDC35-85F0-4CBC-99EA-4A1E7995B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569"/>
          <a:stretch/>
        </p:blipFill>
        <p:spPr>
          <a:xfrm>
            <a:off x="-1" y="0"/>
            <a:ext cx="12188825" cy="6858000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2065D5E8-B1F9-4FFF-B77E-FA9E3AF60149}"/>
              </a:ext>
            </a:extLst>
          </p:cNvPr>
          <p:cNvSpPr/>
          <p:nvPr userDrawn="1"/>
        </p:nvSpPr>
        <p:spPr bwMode="auto">
          <a:xfrm>
            <a:off x="0" y="0"/>
            <a:ext cx="12222560" cy="6858000"/>
          </a:xfrm>
          <a:prstGeom prst="rect">
            <a:avLst/>
          </a:prstGeom>
          <a:gradFill>
            <a:gsLst>
              <a:gs pos="0">
                <a:schemeClr val="tx2">
                  <a:alpha val="65000"/>
                </a:schemeClr>
              </a:gs>
              <a:gs pos="100000">
                <a:schemeClr val="tx2"/>
              </a:gs>
            </a:gsLst>
            <a:lin ang="540000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771708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442" y="273050"/>
            <a:ext cx="4010039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765492" y="273051"/>
            <a:ext cx="681389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609442" y="1435101"/>
            <a:ext cx="4010039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42C39-C17E-4AD9-AE20-7BEC1ACA6479}" type="datetimeFigureOut">
              <a:rPr lang="es-CO" smtClean="0"/>
              <a:t>4/07/2023</a:t>
            </a:fld>
            <a:endParaRPr lang="es-CO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2A2A7-5D56-42FF-A7A3-2CDA8F6E679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384668255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ángulo 8"/>
          <p:cNvSpPr/>
          <p:nvPr userDrawn="1"/>
        </p:nvSpPr>
        <p:spPr bwMode="auto">
          <a:xfrm>
            <a:off x="-1" y="0"/>
            <a:ext cx="12188825" cy="6858000"/>
          </a:xfrm>
          <a:prstGeom prst="rect">
            <a:avLst/>
          </a:prstGeom>
          <a:gradFill>
            <a:gsLst>
              <a:gs pos="0">
                <a:srgbClr val="2A3597"/>
              </a:gs>
              <a:gs pos="65000">
                <a:srgbClr val="0D6588"/>
              </a:gs>
            </a:gsLst>
            <a:lin ang="840000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E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575785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770560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ángulo 11">
            <a:extLst>
              <a:ext uri="{FF2B5EF4-FFF2-40B4-BE49-F238E27FC236}">
                <a16:creationId xmlns:a16="http://schemas.microsoft.com/office/drawing/2014/main" id="{25B11959-7F49-4DFF-8DE6-5A975F85D65B}"/>
              </a:ext>
            </a:extLst>
          </p:cNvPr>
          <p:cNvSpPr/>
          <p:nvPr userDrawn="1"/>
        </p:nvSpPr>
        <p:spPr bwMode="auto">
          <a:xfrm>
            <a:off x="1" y="0"/>
            <a:ext cx="12188825" cy="6858000"/>
          </a:xfrm>
          <a:prstGeom prst="rect">
            <a:avLst/>
          </a:prstGeom>
          <a:gradFill flip="none" rotWithShape="1">
            <a:gsLst>
              <a:gs pos="0">
                <a:schemeClr val="bg2">
                  <a:lumMod val="95000"/>
                </a:schemeClr>
              </a:gs>
              <a:gs pos="26000">
                <a:schemeClr val="bg1">
                  <a:lumMod val="95000"/>
                </a:schemeClr>
              </a:gs>
              <a:gs pos="100000">
                <a:schemeClr val="bg1"/>
              </a:gs>
            </a:gsLst>
            <a:path path="circle">
              <a:fillToRect l="50000" t="50000" r="50000" b="50000"/>
            </a:path>
            <a:tileRect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16" tIns="45708" rIns="91416" bIns="4570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sz="1799" b="1" dirty="0">
              <a:solidFill>
                <a:schemeClr val="bg1"/>
              </a:solidFill>
            </a:endParaRPr>
          </a:p>
        </p:txBody>
      </p:sp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AFFE47DB-5F79-4A27-8217-418BD65A51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AFFE47DB-5F79-4A27-8217-418BD65A51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upo 3">
            <a:extLst>
              <a:ext uri="{FF2B5EF4-FFF2-40B4-BE49-F238E27FC236}">
                <a16:creationId xmlns:a16="http://schemas.microsoft.com/office/drawing/2014/main" id="{C9E91BCA-B9E8-46FB-AE76-99D71A158FA8}"/>
              </a:ext>
            </a:extLst>
          </p:cNvPr>
          <p:cNvGrpSpPr/>
          <p:nvPr userDrawn="1"/>
        </p:nvGrpSpPr>
        <p:grpSpPr>
          <a:xfrm>
            <a:off x="11495089" y="231529"/>
            <a:ext cx="486895" cy="488139"/>
            <a:chOff x="6922272" y="2182812"/>
            <a:chExt cx="2486025" cy="2492375"/>
          </a:xfrm>
        </p:grpSpPr>
        <p:sp>
          <p:nvSpPr>
            <p:cNvPr id="15" name="Oval 5">
              <a:extLst>
                <a:ext uri="{FF2B5EF4-FFF2-40B4-BE49-F238E27FC236}">
                  <a16:creationId xmlns:a16="http://schemas.microsoft.com/office/drawing/2014/main" id="{8B5B5BC9-0213-491D-BC36-2165CCE3CDA4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2272" y="2182812"/>
              <a:ext cx="2486025" cy="24923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799"/>
            </a:p>
          </p:txBody>
        </p:sp>
        <p:sp>
          <p:nvSpPr>
            <p:cNvPr id="16" name="Freeform 6">
              <a:extLst>
                <a:ext uri="{FF2B5EF4-FFF2-40B4-BE49-F238E27FC236}">
                  <a16:creationId xmlns:a16="http://schemas.microsoft.com/office/drawing/2014/main" id="{F7D56485-5823-465A-9488-E84C0CEF200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8635" y="2338387"/>
              <a:ext cx="1603375" cy="1679575"/>
            </a:xfrm>
            <a:custGeom>
              <a:avLst/>
              <a:gdLst>
                <a:gd name="T0" fmla="*/ 59 w 426"/>
                <a:gd name="T1" fmla="*/ 446 h 446"/>
                <a:gd name="T2" fmla="*/ 13 w 426"/>
                <a:gd name="T3" fmla="*/ 289 h 446"/>
                <a:gd name="T4" fmla="*/ 302 w 426"/>
                <a:gd name="T5" fmla="*/ 0 h 446"/>
                <a:gd name="T6" fmla="*/ 399 w 426"/>
                <a:gd name="T7" fmla="*/ 24 h 446"/>
                <a:gd name="T8" fmla="*/ 424 w 426"/>
                <a:gd name="T9" fmla="*/ 75 h 446"/>
                <a:gd name="T10" fmla="*/ 205 w 426"/>
                <a:gd name="T11" fmla="*/ 160 h 446"/>
                <a:gd name="T12" fmla="*/ 59 w 426"/>
                <a:gd name="T13" fmla="*/ 446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6" h="446">
                  <a:moveTo>
                    <a:pt x="59" y="446"/>
                  </a:moveTo>
                  <a:cubicBezTo>
                    <a:pt x="29" y="401"/>
                    <a:pt x="13" y="347"/>
                    <a:pt x="13" y="289"/>
                  </a:cubicBezTo>
                  <a:cubicBezTo>
                    <a:pt x="13" y="129"/>
                    <a:pt x="142" y="0"/>
                    <a:pt x="302" y="0"/>
                  </a:cubicBezTo>
                  <a:cubicBezTo>
                    <a:pt x="364" y="0"/>
                    <a:pt x="390" y="17"/>
                    <a:pt x="399" y="24"/>
                  </a:cubicBezTo>
                  <a:cubicBezTo>
                    <a:pt x="415" y="38"/>
                    <a:pt x="426" y="56"/>
                    <a:pt x="424" y="75"/>
                  </a:cubicBezTo>
                  <a:cubicBezTo>
                    <a:pt x="419" y="150"/>
                    <a:pt x="312" y="135"/>
                    <a:pt x="205" y="160"/>
                  </a:cubicBezTo>
                  <a:cubicBezTo>
                    <a:pt x="49" y="197"/>
                    <a:pt x="0" y="332"/>
                    <a:pt x="59" y="446"/>
                  </a:cubicBezTo>
                  <a:close/>
                </a:path>
              </a:pathLst>
            </a:custGeom>
            <a:solidFill>
              <a:srgbClr val="92C0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799"/>
            </a:p>
          </p:txBody>
        </p:sp>
        <p:sp>
          <p:nvSpPr>
            <p:cNvPr id="17" name="Freeform 7">
              <a:extLst>
                <a:ext uri="{FF2B5EF4-FFF2-40B4-BE49-F238E27FC236}">
                  <a16:creationId xmlns:a16="http://schemas.microsoft.com/office/drawing/2014/main" id="{7B906CB3-5A4E-423B-A578-58740CED4E42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8635" y="2563812"/>
              <a:ext cx="1616075" cy="1906588"/>
            </a:xfrm>
            <a:custGeom>
              <a:avLst/>
              <a:gdLst>
                <a:gd name="T0" fmla="*/ 423 w 429"/>
                <a:gd name="T1" fmla="*/ 0 h 506"/>
                <a:gd name="T2" fmla="*/ 418 w 429"/>
                <a:gd name="T3" fmla="*/ 55 h 506"/>
                <a:gd name="T4" fmla="*/ 97 w 429"/>
                <a:gd name="T5" fmla="*/ 267 h 506"/>
                <a:gd name="T6" fmla="*/ 208 w 429"/>
                <a:gd name="T7" fmla="*/ 498 h 506"/>
                <a:gd name="T8" fmla="*/ 206 w 429"/>
                <a:gd name="T9" fmla="*/ 503 h 506"/>
                <a:gd name="T10" fmla="*/ 59 w 429"/>
                <a:gd name="T11" fmla="*/ 386 h 506"/>
                <a:gd name="T12" fmla="*/ 205 w 429"/>
                <a:gd name="T13" fmla="*/ 100 h 506"/>
                <a:gd name="T14" fmla="*/ 424 w 429"/>
                <a:gd name="T15" fmla="*/ 15 h 506"/>
                <a:gd name="T16" fmla="*/ 423 w 429"/>
                <a:gd name="T17" fmla="*/ 0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9" h="506">
                  <a:moveTo>
                    <a:pt x="423" y="0"/>
                  </a:moveTo>
                  <a:cubicBezTo>
                    <a:pt x="429" y="22"/>
                    <a:pt x="426" y="39"/>
                    <a:pt x="418" y="55"/>
                  </a:cubicBezTo>
                  <a:cubicBezTo>
                    <a:pt x="363" y="165"/>
                    <a:pt x="148" y="87"/>
                    <a:pt x="97" y="267"/>
                  </a:cubicBezTo>
                  <a:cubicBezTo>
                    <a:pt x="76" y="351"/>
                    <a:pt x="120" y="450"/>
                    <a:pt x="208" y="498"/>
                  </a:cubicBezTo>
                  <a:cubicBezTo>
                    <a:pt x="216" y="503"/>
                    <a:pt x="215" y="506"/>
                    <a:pt x="206" y="503"/>
                  </a:cubicBezTo>
                  <a:cubicBezTo>
                    <a:pt x="145" y="481"/>
                    <a:pt x="93" y="440"/>
                    <a:pt x="59" y="386"/>
                  </a:cubicBezTo>
                  <a:cubicBezTo>
                    <a:pt x="0" y="272"/>
                    <a:pt x="49" y="137"/>
                    <a:pt x="205" y="100"/>
                  </a:cubicBezTo>
                  <a:cubicBezTo>
                    <a:pt x="312" y="75"/>
                    <a:pt x="419" y="90"/>
                    <a:pt x="424" y="15"/>
                  </a:cubicBezTo>
                  <a:cubicBezTo>
                    <a:pt x="425" y="10"/>
                    <a:pt x="424" y="5"/>
                    <a:pt x="423" y="0"/>
                  </a:cubicBezTo>
                  <a:close/>
                </a:path>
              </a:pathLst>
            </a:custGeom>
            <a:solidFill>
              <a:srgbClr val="5C7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799"/>
            </a:p>
          </p:txBody>
        </p:sp>
        <p:sp>
          <p:nvSpPr>
            <p:cNvPr id="18" name="Freeform 8">
              <a:extLst>
                <a:ext uri="{FF2B5EF4-FFF2-40B4-BE49-F238E27FC236}">
                  <a16:creationId xmlns:a16="http://schemas.microsoft.com/office/drawing/2014/main" id="{D868993A-EE66-42CA-8AB1-16F82C0F61B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1947" y="2398712"/>
              <a:ext cx="1144588" cy="1612900"/>
            </a:xfrm>
            <a:custGeom>
              <a:avLst/>
              <a:gdLst>
                <a:gd name="T0" fmla="*/ 114 w 304"/>
                <a:gd name="T1" fmla="*/ 3 h 428"/>
                <a:gd name="T2" fmla="*/ 285 w 304"/>
                <a:gd name="T3" fmla="*/ 186 h 428"/>
                <a:gd name="T4" fmla="*/ 260 w 304"/>
                <a:gd name="T5" fmla="*/ 317 h 428"/>
                <a:gd name="T6" fmla="*/ 23 w 304"/>
                <a:gd name="T7" fmla="*/ 311 h 428"/>
                <a:gd name="T8" fmla="*/ 157 w 304"/>
                <a:gd name="T9" fmla="*/ 78 h 428"/>
                <a:gd name="T10" fmla="*/ 112 w 304"/>
                <a:gd name="T11" fmla="*/ 7 h 428"/>
                <a:gd name="T12" fmla="*/ 114 w 304"/>
                <a:gd name="T13" fmla="*/ 3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4" h="428">
                  <a:moveTo>
                    <a:pt x="114" y="3"/>
                  </a:moveTo>
                  <a:cubicBezTo>
                    <a:pt x="195" y="35"/>
                    <a:pt x="259" y="102"/>
                    <a:pt x="285" y="186"/>
                  </a:cubicBezTo>
                  <a:cubicBezTo>
                    <a:pt x="285" y="186"/>
                    <a:pt x="304" y="256"/>
                    <a:pt x="260" y="317"/>
                  </a:cubicBezTo>
                  <a:cubicBezTo>
                    <a:pt x="180" y="428"/>
                    <a:pt x="37" y="388"/>
                    <a:pt x="23" y="311"/>
                  </a:cubicBezTo>
                  <a:cubicBezTo>
                    <a:pt x="0" y="188"/>
                    <a:pt x="170" y="200"/>
                    <a:pt x="157" y="78"/>
                  </a:cubicBezTo>
                  <a:cubicBezTo>
                    <a:pt x="153" y="48"/>
                    <a:pt x="134" y="23"/>
                    <a:pt x="112" y="7"/>
                  </a:cubicBezTo>
                  <a:cubicBezTo>
                    <a:pt x="103" y="1"/>
                    <a:pt x="105" y="0"/>
                    <a:pt x="114" y="3"/>
                  </a:cubicBezTo>
                  <a:close/>
                </a:path>
              </a:pathLst>
            </a:custGeom>
            <a:solidFill>
              <a:srgbClr val="167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799"/>
            </a:p>
          </p:txBody>
        </p:sp>
        <p:sp>
          <p:nvSpPr>
            <p:cNvPr id="19" name="Freeform 9">
              <a:extLst>
                <a:ext uri="{FF2B5EF4-FFF2-40B4-BE49-F238E27FC236}">
                  <a16:creationId xmlns:a16="http://schemas.microsoft.com/office/drawing/2014/main" id="{B7EF9143-BA88-4274-B46B-5456FE0CCF25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3847" y="3098800"/>
              <a:ext cx="1182688" cy="1371600"/>
            </a:xfrm>
            <a:custGeom>
              <a:avLst/>
              <a:gdLst>
                <a:gd name="T0" fmla="*/ 113 w 314"/>
                <a:gd name="T1" fmla="*/ 361 h 364"/>
                <a:gd name="T2" fmla="*/ 111 w 314"/>
                <a:gd name="T3" fmla="*/ 357 h 364"/>
                <a:gd name="T4" fmla="*/ 135 w 314"/>
                <a:gd name="T5" fmla="*/ 302 h 364"/>
                <a:gd name="T6" fmla="*/ 8 w 314"/>
                <a:gd name="T7" fmla="*/ 155 h 364"/>
                <a:gd name="T8" fmla="*/ 80 w 314"/>
                <a:gd name="T9" fmla="*/ 20 h 364"/>
                <a:gd name="T10" fmla="*/ 33 w 314"/>
                <a:gd name="T11" fmla="*/ 125 h 364"/>
                <a:gd name="T12" fmla="*/ 270 w 314"/>
                <a:gd name="T13" fmla="*/ 131 h 364"/>
                <a:gd name="T14" fmla="*/ 295 w 314"/>
                <a:gd name="T15" fmla="*/ 0 h 364"/>
                <a:gd name="T16" fmla="*/ 309 w 314"/>
                <a:gd name="T17" fmla="*/ 87 h 364"/>
                <a:gd name="T18" fmla="*/ 113 w 314"/>
                <a:gd name="T19" fmla="*/ 361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4" h="364">
                  <a:moveTo>
                    <a:pt x="113" y="361"/>
                  </a:moveTo>
                  <a:cubicBezTo>
                    <a:pt x="104" y="364"/>
                    <a:pt x="103" y="363"/>
                    <a:pt x="111" y="357"/>
                  </a:cubicBezTo>
                  <a:cubicBezTo>
                    <a:pt x="125" y="346"/>
                    <a:pt x="138" y="327"/>
                    <a:pt x="135" y="302"/>
                  </a:cubicBezTo>
                  <a:cubicBezTo>
                    <a:pt x="126" y="231"/>
                    <a:pt x="24" y="241"/>
                    <a:pt x="8" y="155"/>
                  </a:cubicBezTo>
                  <a:cubicBezTo>
                    <a:pt x="0" y="114"/>
                    <a:pt x="17" y="66"/>
                    <a:pt x="80" y="20"/>
                  </a:cubicBezTo>
                  <a:cubicBezTo>
                    <a:pt x="49" y="45"/>
                    <a:pt x="23" y="73"/>
                    <a:pt x="33" y="125"/>
                  </a:cubicBezTo>
                  <a:cubicBezTo>
                    <a:pt x="47" y="202"/>
                    <a:pt x="190" y="242"/>
                    <a:pt x="270" y="131"/>
                  </a:cubicBezTo>
                  <a:cubicBezTo>
                    <a:pt x="314" y="70"/>
                    <a:pt x="295" y="0"/>
                    <a:pt x="295" y="0"/>
                  </a:cubicBezTo>
                  <a:cubicBezTo>
                    <a:pt x="304" y="27"/>
                    <a:pt x="309" y="57"/>
                    <a:pt x="309" y="87"/>
                  </a:cubicBezTo>
                  <a:cubicBezTo>
                    <a:pt x="309" y="214"/>
                    <a:pt x="227" y="322"/>
                    <a:pt x="113" y="361"/>
                  </a:cubicBezTo>
                  <a:close/>
                </a:path>
              </a:pathLst>
            </a:custGeom>
            <a:solidFill>
              <a:srgbClr val="1D3B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 sz="1799"/>
            </a:p>
          </p:txBody>
        </p:sp>
      </p:grpSp>
    </p:spTree>
    <p:extLst>
      <p:ext uri="{BB962C8B-B14F-4D97-AF65-F5344CB8AC3E}">
        <p14:creationId xmlns:p14="http://schemas.microsoft.com/office/powerpoint/2010/main" val="63895954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n 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"/>
            <a:ext cx="12188825" cy="6856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965573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893"/>
            <a:ext cx="12190415" cy="6857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4408094"/>
      </p:ext>
    </p:extLst>
  </p:cSld>
  <p:clrMapOvr>
    <a:masterClrMapping/>
  </p:clrMapOvr>
  <p:hf hdr="0" ft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n 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62"/>
            <a:ext cx="12188825" cy="6854875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 bwMode="auto">
          <a:xfrm>
            <a:off x="1" y="1562"/>
            <a:ext cx="12188824" cy="6856437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alpha val="60000"/>
                </a:schemeClr>
              </a:gs>
            </a:gsLst>
            <a:lin ang="540000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  <p:pic>
        <p:nvPicPr>
          <p:cNvPr id="5" name="Imagen 3">
            <a:extLst>
              <a:ext uri="{FF2B5EF4-FFF2-40B4-BE49-F238E27FC236}">
                <a16:creationId xmlns:a16="http://schemas.microsoft.com/office/drawing/2014/main" id="{325A3F1D-8CBC-4592-B623-ABFAB546B9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88825" cy="6856214"/>
          </a:xfrm>
          <a:prstGeom prst="rect">
            <a:avLst/>
          </a:prstGeom>
        </p:spPr>
      </p:pic>
      <p:sp>
        <p:nvSpPr>
          <p:cNvPr id="6" name="Rectángulo 4">
            <a:extLst>
              <a:ext uri="{FF2B5EF4-FFF2-40B4-BE49-F238E27FC236}">
                <a16:creationId xmlns:a16="http://schemas.microsoft.com/office/drawing/2014/main" id="{2E983D07-DF2D-4A66-AF25-E791103C4A68}"/>
              </a:ext>
            </a:extLst>
          </p:cNvPr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1">
              <a:alpha val="50000"/>
            </a:schemeClr>
          </a:soli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  <p:sp>
        <p:nvSpPr>
          <p:cNvPr id="7" name="Rectángulo 9">
            <a:extLst>
              <a:ext uri="{FF2B5EF4-FFF2-40B4-BE49-F238E27FC236}">
                <a16:creationId xmlns:a16="http://schemas.microsoft.com/office/drawing/2014/main" id="{5947BF9C-44F9-430D-8528-7E321537259E}"/>
              </a:ext>
            </a:extLst>
          </p:cNvPr>
          <p:cNvSpPr/>
          <p:nvPr userDrawn="1"/>
        </p:nvSpPr>
        <p:spPr bwMode="auto">
          <a:xfrm rot="10800000">
            <a:off x="-1" y="0"/>
            <a:ext cx="12192000" cy="6857999"/>
          </a:xfrm>
          <a:prstGeom prst="rect">
            <a:avLst/>
          </a:prstGeom>
          <a:gradFill>
            <a:gsLst>
              <a:gs pos="22000">
                <a:schemeClr val="bg1"/>
              </a:gs>
              <a:gs pos="100000">
                <a:schemeClr val="bg1">
                  <a:alpha val="40000"/>
                </a:schemeClr>
              </a:gs>
            </a:gsLst>
            <a:lin ang="5400000" scaled="1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338809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EDCF383-6780-4881-AB7A-F8A2D487BC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EDCF383-6780-4881-AB7A-F8A2D487BC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 bwMode="auto">
          <a:xfrm>
            <a:off x="0" y="3462376"/>
            <a:ext cx="12191999" cy="3397802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540000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  <p:pic>
        <p:nvPicPr>
          <p:cNvPr id="5" name="Imagen 3">
            <a:extLst>
              <a:ext uri="{FF2B5EF4-FFF2-40B4-BE49-F238E27FC236}">
                <a16:creationId xmlns:a16="http://schemas.microsoft.com/office/drawing/2014/main" id="{17299893-C19C-45F8-BD71-8FE81AA77A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3"/>
            <a:ext cx="12188825" cy="6856214"/>
          </a:xfrm>
          <a:prstGeom prst="rect">
            <a:avLst/>
          </a:prstGeom>
        </p:spPr>
      </p:pic>
      <p:sp>
        <p:nvSpPr>
          <p:cNvPr id="6" name="Rectángulo 2">
            <a:extLst>
              <a:ext uri="{FF2B5EF4-FFF2-40B4-BE49-F238E27FC236}">
                <a16:creationId xmlns:a16="http://schemas.microsoft.com/office/drawing/2014/main" id="{C6A984DB-1BEE-410A-A6DF-7E08EF12599A}"/>
              </a:ext>
            </a:extLst>
          </p:cNvPr>
          <p:cNvSpPr/>
          <p:nvPr userDrawn="1"/>
        </p:nvSpPr>
        <p:spPr bwMode="auto">
          <a:xfrm rot="10800000">
            <a:off x="-1" y="0"/>
            <a:ext cx="12192000" cy="6857999"/>
          </a:xfrm>
          <a:prstGeom prst="rect">
            <a:avLst/>
          </a:prstGeom>
          <a:gradFill>
            <a:gsLst>
              <a:gs pos="26000">
                <a:schemeClr val="bg1"/>
              </a:gs>
              <a:gs pos="100000">
                <a:schemeClr val="bg1">
                  <a:alpha val="50000"/>
                </a:schemeClr>
              </a:gs>
            </a:gsLst>
            <a:lin ang="5400000" scaled="1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641700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3" name="Objeto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n 1"/>
          <p:cNvPicPr>
            <a:picLocks noChangeAspect="1"/>
          </p:cNvPicPr>
          <p:nvPr userDrawn="1"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2"/>
            <a:ext cx="12188825" cy="6856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72528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30C9ABC-8171-4A3F-8DBA-089597E8CE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30C9ABC-8171-4A3F-8DBA-089597E8C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 bwMode="auto">
          <a:xfrm>
            <a:off x="0" y="3462376"/>
            <a:ext cx="12191999" cy="3397802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540000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  <p:sp>
        <p:nvSpPr>
          <p:cNvPr id="2" name="Rectángulo 1"/>
          <p:cNvSpPr/>
          <p:nvPr/>
        </p:nvSpPr>
        <p:spPr bwMode="auto">
          <a:xfrm>
            <a:off x="-1" y="0"/>
            <a:ext cx="12192000" cy="685799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60000"/>
                </a:schemeClr>
              </a:gs>
            </a:gsLst>
            <a:lin ang="5400000" scaled="1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  <p:pic>
        <p:nvPicPr>
          <p:cNvPr id="5" name="Imagen 2">
            <a:extLst>
              <a:ext uri="{FF2B5EF4-FFF2-40B4-BE49-F238E27FC236}">
                <a16:creationId xmlns:a16="http://schemas.microsoft.com/office/drawing/2014/main" id="{AAB77865-8984-4158-86D1-BD509F94A5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418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ángulo 3">
            <a:extLst>
              <a:ext uri="{FF2B5EF4-FFF2-40B4-BE49-F238E27FC236}">
                <a16:creationId xmlns:a16="http://schemas.microsoft.com/office/drawing/2014/main" id="{3C8B894E-9B3B-45FF-B274-3EB4018A1DE8}"/>
              </a:ext>
            </a:extLst>
          </p:cNvPr>
          <p:cNvSpPr/>
          <p:nvPr userDrawn="1"/>
        </p:nvSpPr>
        <p:spPr bwMode="auto">
          <a:xfrm>
            <a:off x="0" y="3462376"/>
            <a:ext cx="12191999" cy="3397802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540000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  <p:sp>
        <p:nvSpPr>
          <p:cNvPr id="7" name="Rectángulo 1">
            <a:extLst>
              <a:ext uri="{FF2B5EF4-FFF2-40B4-BE49-F238E27FC236}">
                <a16:creationId xmlns:a16="http://schemas.microsoft.com/office/drawing/2014/main" id="{EF6A7259-03B0-4CD4-8E4E-8FA6AA6B1C50}"/>
              </a:ext>
            </a:extLst>
          </p:cNvPr>
          <p:cNvSpPr/>
          <p:nvPr userDrawn="1"/>
        </p:nvSpPr>
        <p:spPr bwMode="auto">
          <a:xfrm rot="10800000">
            <a:off x="-1" y="0"/>
            <a:ext cx="12192000" cy="6857998"/>
          </a:xfrm>
          <a:prstGeom prst="rect">
            <a:avLst/>
          </a:prstGeom>
          <a:gradFill>
            <a:gsLst>
              <a:gs pos="35000">
                <a:schemeClr val="bg1"/>
              </a:gs>
              <a:gs pos="100000">
                <a:schemeClr val="bg1">
                  <a:alpha val="50000"/>
                </a:schemeClr>
              </a:gs>
            </a:gsLst>
            <a:lin ang="5400000" scaled="1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65440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3"/>
            <a:ext cx="12187238" cy="6855320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>
          <a:xfrm>
            <a:off x="1" y="-1"/>
            <a:ext cx="12187238" cy="6856214"/>
          </a:xfrm>
          <a:prstGeom prst="rect">
            <a:avLst/>
          </a:prstGeom>
          <a:gradFill>
            <a:gsLst>
              <a:gs pos="0">
                <a:srgbClr val="111518"/>
              </a:gs>
              <a:gs pos="63000">
                <a:srgbClr val="111518">
                  <a:alpha val="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s-CL" sz="1799">
              <a:solidFill>
                <a:srgbClr val="FFFFFF"/>
              </a:solidFill>
              <a:latin typeface="Arial Narrow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3BBBE891-7B3B-4FE3-97A1-1D57CA721F64}"/>
              </a:ext>
            </a:extLst>
          </p:cNvPr>
          <p:cNvSpPr/>
          <p:nvPr userDrawn="1"/>
        </p:nvSpPr>
        <p:spPr bwMode="auto">
          <a:xfrm>
            <a:off x="0" y="-1788"/>
            <a:ext cx="12188825" cy="6858001"/>
          </a:xfrm>
          <a:prstGeom prst="rect">
            <a:avLst/>
          </a:prstGeom>
          <a:solidFill>
            <a:srgbClr val="003F5F">
              <a:alpha val="32157"/>
            </a:srgbClr>
          </a:soli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7471976"/>
      </p:ext>
    </p:extLst>
  </p:cSld>
  <p:clrMapOvr>
    <a:masterClrMapping/>
  </p:clrMapOvr>
  <p:hf hdr="0" ftr="0" dt="0"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44" r="-161"/>
          <a:stretch/>
        </p:blipFill>
        <p:spPr>
          <a:xfrm>
            <a:off x="-61645" y="0"/>
            <a:ext cx="12250470" cy="6858000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 bwMode="auto">
          <a:xfrm>
            <a:off x="-61644" y="0"/>
            <a:ext cx="12250470" cy="6858000"/>
          </a:xfrm>
          <a:prstGeom prst="rect">
            <a:avLst/>
          </a:prstGeom>
          <a:solidFill>
            <a:schemeClr val="tx1">
              <a:alpha val="35000"/>
            </a:schemeClr>
          </a:soli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ES" b="1" dirty="0">
              <a:solidFill>
                <a:schemeClr val="bg1"/>
              </a:solidFill>
            </a:endParaRPr>
          </a:p>
        </p:txBody>
      </p:sp>
      <p:sp>
        <p:nvSpPr>
          <p:cNvPr id="5" name="Rectángulo 4"/>
          <p:cNvSpPr/>
          <p:nvPr/>
        </p:nvSpPr>
        <p:spPr bwMode="auto">
          <a:xfrm>
            <a:off x="-61646" y="0"/>
            <a:ext cx="9746559" cy="6858000"/>
          </a:xfrm>
          <a:prstGeom prst="rect">
            <a:avLst/>
          </a:prstGeom>
          <a:gradFill>
            <a:gsLst>
              <a:gs pos="76000">
                <a:schemeClr val="accent2">
                  <a:alpha val="0"/>
                </a:schemeClr>
              </a:gs>
              <a:gs pos="0">
                <a:schemeClr val="accent2">
                  <a:alpha val="50000"/>
                </a:schemeClr>
              </a:gs>
            </a:gsLst>
            <a:lin ang="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E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5262374"/>
      </p:ext>
    </p:extLst>
  </p:cSld>
  <p:clrMapOvr>
    <a:masterClrMapping/>
  </p:clrMapOvr>
  <p:hf hdr="0" ftr="0" dt="0"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44" r="-161"/>
          <a:stretch/>
        </p:blipFill>
        <p:spPr>
          <a:xfrm>
            <a:off x="-45247" y="0"/>
            <a:ext cx="12256297" cy="6858000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 bwMode="auto">
          <a:xfrm>
            <a:off x="-11512" y="0"/>
            <a:ext cx="12188826" cy="6858000"/>
          </a:xfrm>
          <a:prstGeom prst="rect">
            <a:avLst/>
          </a:prstGeom>
          <a:solidFill>
            <a:schemeClr val="tx1">
              <a:alpha val="35000"/>
            </a:schemeClr>
          </a:soli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ES" b="1" dirty="0">
              <a:solidFill>
                <a:schemeClr val="bg1"/>
              </a:solidFill>
            </a:endParaRPr>
          </a:p>
        </p:txBody>
      </p:sp>
      <p:sp>
        <p:nvSpPr>
          <p:cNvPr id="5" name="Rectángulo 4"/>
          <p:cNvSpPr/>
          <p:nvPr/>
        </p:nvSpPr>
        <p:spPr bwMode="auto">
          <a:xfrm>
            <a:off x="0" y="0"/>
            <a:ext cx="9673402" cy="6858000"/>
          </a:xfrm>
          <a:prstGeom prst="rect">
            <a:avLst/>
          </a:prstGeom>
          <a:gradFill>
            <a:gsLst>
              <a:gs pos="76000">
                <a:schemeClr val="accent2">
                  <a:alpha val="0"/>
                </a:schemeClr>
              </a:gs>
              <a:gs pos="0">
                <a:schemeClr val="accent2">
                  <a:alpha val="50000"/>
                </a:schemeClr>
              </a:gs>
            </a:gsLst>
            <a:lin ang="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ES" b="1" dirty="0">
              <a:solidFill>
                <a:schemeClr val="bg1"/>
              </a:solidFill>
            </a:endParaRPr>
          </a:p>
        </p:txBody>
      </p:sp>
      <p:sp>
        <p:nvSpPr>
          <p:cNvPr id="2" name="Rectángulo 1"/>
          <p:cNvSpPr/>
          <p:nvPr/>
        </p:nvSpPr>
        <p:spPr bwMode="auto">
          <a:xfrm>
            <a:off x="-11511" y="0"/>
            <a:ext cx="12222560" cy="6858000"/>
          </a:xfrm>
          <a:prstGeom prst="rect">
            <a:avLst/>
          </a:prstGeom>
          <a:gradFill>
            <a:gsLst>
              <a:gs pos="0">
                <a:schemeClr val="tx2">
                  <a:alpha val="65000"/>
                </a:schemeClr>
              </a:gs>
              <a:gs pos="100000">
                <a:schemeClr val="tx2"/>
              </a:gs>
            </a:gsLst>
            <a:lin ang="540000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8638163"/>
      </p:ext>
    </p:extLst>
  </p:cSld>
  <p:clrMapOvr>
    <a:masterClrMapping/>
  </p:clrMapOvr>
  <p:hf hdr="0" ftr="0" dt="0"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344400" cy="6878782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 bwMode="auto">
          <a:xfrm>
            <a:off x="0" y="3462376"/>
            <a:ext cx="12344400" cy="3397802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540000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  <p:sp>
        <p:nvSpPr>
          <p:cNvPr id="5" name="Rectángulo 4"/>
          <p:cNvSpPr/>
          <p:nvPr/>
        </p:nvSpPr>
        <p:spPr bwMode="auto">
          <a:xfrm rot="5400000">
            <a:off x="392972" y="-392972"/>
            <a:ext cx="6878782" cy="7664726"/>
          </a:xfrm>
          <a:prstGeom prst="rect">
            <a:avLst/>
          </a:prstGeom>
          <a:gradFill>
            <a:gsLst>
              <a:gs pos="0">
                <a:schemeClr val="tx2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540000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58181998"/>
      </p:ext>
    </p:extLst>
  </p:cSld>
  <p:clrMapOvr>
    <a:masterClrMapping/>
  </p:clrMapOvr>
  <p:hf hdr="0" ftr="0" dt="0"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22248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5435666"/>
      </p:ext>
    </p:extLst>
  </p:cSld>
  <p:clrMapOvr>
    <a:masterClrMapping/>
  </p:clrMapOvr>
  <p:hf hdr="0" ftr="0" dt="0"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9093BE-702C-4DC2-A2EC-E7426E5F055B}" type="datetimeFigureOut">
              <a:rPr lang="es-ES" smtClean="0"/>
              <a:t>04/07/2023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7F0D43-DC6A-43E7-8B70-5BA0F6C8383D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303994189"/>
      </p:ext>
    </p:extLst>
  </p:cSld>
  <p:clrMapOvr>
    <a:masterClrMapping/>
  </p:clrMapOvr>
  <p:hf hdr="0" ftr="0" dt="0"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" name="Objeto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n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670"/>
            <a:ext cx="12188825" cy="68566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6446542"/>
      </p:ext>
    </p:extLst>
  </p:cSld>
  <p:clrMapOvr>
    <a:masterClrMapping/>
  </p:clrMapOvr>
  <p:hf hdr="0" ftr="0" dt="0"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7" y="0"/>
            <a:ext cx="12175090" cy="6858000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 bwMode="auto">
          <a:xfrm>
            <a:off x="-61646" y="0"/>
            <a:ext cx="9746559" cy="6858000"/>
          </a:xfrm>
          <a:prstGeom prst="rect">
            <a:avLst/>
          </a:prstGeom>
          <a:gradFill>
            <a:gsLst>
              <a:gs pos="76000">
                <a:schemeClr val="accent2">
                  <a:alpha val="0"/>
                </a:schemeClr>
              </a:gs>
              <a:gs pos="0">
                <a:schemeClr val="accent2">
                  <a:alpha val="50000"/>
                </a:schemeClr>
              </a:gs>
            </a:gsLst>
            <a:lin ang="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ES" b="1" dirty="0">
              <a:solidFill>
                <a:schemeClr val="bg1"/>
              </a:solidFill>
            </a:endParaRPr>
          </a:p>
        </p:txBody>
      </p:sp>
      <p:sp>
        <p:nvSpPr>
          <p:cNvPr id="5" name="Rectángulo 4"/>
          <p:cNvSpPr/>
          <p:nvPr/>
        </p:nvSpPr>
        <p:spPr bwMode="auto">
          <a:xfrm>
            <a:off x="-61646" y="0"/>
            <a:ext cx="12250472" cy="6858000"/>
          </a:xfrm>
          <a:prstGeom prst="rect">
            <a:avLst/>
          </a:prstGeom>
          <a:gradFill>
            <a:gsLst>
              <a:gs pos="100000">
                <a:schemeClr val="tx2"/>
              </a:gs>
              <a:gs pos="0">
                <a:schemeClr val="tx2">
                  <a:alpha val="0"/>
                </a:schemeClr>
              </a:gs>
            </a:gsLst>
            <a:lin ang="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E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9672648"/>
      </p:ext>
    </p:extLst>
  </p:cSld>
  <p:clrMapOvr>
    <a:masterClrMapping/>
  </p:clrMapOvr>
  <p:hf hdr="0" ftr="0" dt="0"/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67" y="0"/>
            <a:ext cx="12175090" cy="6858000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 bwMode="auto">
          <a:xfrm>
            <a:off x="6868" y="0"/>
            <a:ext cx="12181958" cy="6858000"/>
          </a:xfrm>
          <a:prstGeom prst="rect">
            <a:avLst/>
          </a:prstGeom>
          <a:gradFill>
            <a:gsLst>
              <a:gs pos="100000">
                <a:schemeClr val="tx2">
                  <a:alpha val="65000"/>
                </a:schemeClr>
              </a:gs>
              <a:gs pos="0">
                <a:schemeClr val="tx2">
                  <a:alpha val="25000"/>
                </a:schemeClr>
              </a:gs>
            </a:gsLst>
            <a:lin ang="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ES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5770558"/>
      </p:ext>
    </p:extLst>
  </p:cSld>
  <p:clrMapOvr>
    <a:masterClrMapping/>
  </p:clrMapOvr>
  <p:hf hdr="0" ft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893"/>
            <a:ext cx="12190415" cy="68571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174565"/>
      </p:ext>
    </p:extLst>
  </p:cSld>
  <p:clrMapOvr>
    <a:masterClrMapping/>
  </p:clrMapOvr>
  <p:hf hdr="0" ftr="0" dt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418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ángulo 3"/>
          <p:cNvSpPr/>
          <p:nvPr userDrawn="1"/>
        </p:nvSpPr>
        <p:spPr bwMode="auto">
          <a:xfrm>
            <a:off x="0" y="3462376"/>
            <a:ext cx="12191999" cy="3397802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540000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  <p:sp>
        <p:nvSpPr>
          <p:cNvPr id="2" name="Rectángulo 1"/>
          <p:cNvSpPr/>
          <p:nvPr userDrawn="1"/>
        </p:nvSpPr>
        <p:spPr bwMode="auto">
          <a:xfrm rot="10800000">
            <a:off x="-1" y="0"/>
            <a:ext cx="12192000" cy="6857998"/>
          </a:xfrm>
          <a:prstGeom prst="rect">
            <a:avLst/>
          </a:prstGeom>
          <a:gradFill>
            <a:gsLst>
              <a:gs pos="35000">
                <a:schemeClr val="bg1"/>
              </a:gs>
              <a:gs pos="100000">
                <a:schemeClr val="bg1">
                  <a:alpha val="50000"/>
                </a:schemeClr>
              </a:gs>
            </a:gsLst>
            <a:lin ang="5400000" scaled="1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2899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88825" cy="6856214"/>
          </a:xfrm>
          <a:prstGeom prst="rect">
            <a:avLst/>
          </a:prstGeom>
        </p:spPr>
      </p:pic>
      <p:sp>
        <p:nvSpPr>
          <p:cNvPr id="5" name="Rectángulo 4"/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1">
              <a:alpha val="50000"/>
            </a:schemeClr>
          </a:soli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  <p:sp>
        <p:nvSpPr>
          <p:cNvPr id="10" name="Rectángulo 9"/>
          <p:cNvSpPr/>
          <p:nvPr userDrawn="1"/>
        </p:nvSpPr>
        <p:spPr bwMode="auto">
          <a:xfrm rot="10800000">
            <a:off x="-1" y="0"/>
            <a:ext cx="12192000" cy="6857999"/>
          </a:xfrm>
          <a:prstGeom prst="rect">
            <a:avLst/>
          </a:prstGeom>
          <a:gradFill>
            <a:gsLst>
              <a:gs pos="22000">
                <a:schemeClr val="bg1"/>
              </a:gs>
              <a:gs pos="100000">
                <a:schemeClr val="bg1">
                  <a:alpha val="40000"/>
                </a:schemeClr>
              </a:gs>
            </a:gsLst>
            <a:lin ang="5400000" scaled="1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26637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3"/>
            <a:ext cx="12188825" cy="6856214"/>
          </a:xfrm>
          <a:prstGeom prst="rect">
            <a:avLst/>
          </a:prstGeom>
        </p:spPr>
      </p:pic>
      <p:sp>
        <p:nvSpPr>
          <p:cNvPr id="3" name="Rectángulo 2"/>
          <p:cNvSpPr/>
          <p:nvPr userDrawn="1"/>
        </p:nvSpPr>
        <p:spPr bwMode="auto">
          <a:xfrm rot="10800000">
            <a:off x="-1" y="0"/>
            <a:ext cx="12192000" cy="6857999"/>
          </a:xfrm>
          <a:prstGeom prst="rect">
            <a:avLst/>
          </a:prstGeom>
          <a:gradFill>
            <a:gsLst>
              <a:gs pos="26000">
                <a:schemeClr val="bg1"/>
              </a:gs>
              <a:gs pos="100000">
                <a:schemeClr val="bg1">
                  <a:alpha val="50000"/>
                </a:schemeClr>
              </a:gs>
            </a:gsLst>
            <a:lin ang="5400000" scaled="1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33592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Grupo 2"/>
          <p:cNvGrpSpPr/>
          <p:nvPr/>
        </p:nvGrpSpPr>
        <p:grpSpPr>
          <a:xfrm>
            <a:off x="11495088" y="231527"/>
            <a:ext cx="486895" cy="488139"/>
            <a:chOff x="6922272" y="2182812"/>
            <a:chExt cx="2486025" cy="2492375"/>
          </a:xfrm>
        </p:grpSpPr>
        <p:sp>
          <p:nvSpPr>
            <p:cNvPr id="4" name="Oval 5"/>
            <p:cNvSpPr>
              <a:spLocks noChangeArrowheads="1"/>
            </p:cNvSpPr>
            <p:nvPr/>
          </p:nvSpPr>
          <p:spPr bwMode="auto">
            <a:xfrm>
              <a:off x="6922272" y="2182812"/>
              <a:ext cx="2486025" cy="24923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5" name="Freeform 6"/>
            <p:cNvSpPr>
              <a:spLocks/>
            </p:cNvSpPr>
            <p:nvPr/>
          </p:nvSpPr>
          <p:spPr bwMode="auto">
            <a:xfrm>
              <a:off x="7028635" y="2338387"/>
              <a:ext cx="1603375" cy="1679575"/>
            </a:xfrm>
            <a:custGeom>
              <a:avLst/>
              <a:gdLst>
                <a:gd name="T0" fmla="*/ 59 w 426"/>
                <a:gd name="T1" fmla="*/ 446 h 446"/>
                <a:gd name="T2" fmla="*/ 13 w 426"/>
                <a:gd name="T3" fmla="*/ 289 h 446"/>
                <a:gd name="T4" fmla="*/ 302 w 426"/>
                <a:gd name="T5" fmla="*/ 0 h 446"/>
                <a:gd name="T6" fmla="*/ 399 w 426"/>
                <a:gd name="T7" fmla="*/ 24 h 446"/>
                <a:gd name="T8" fmla="*/ 424 w 426"/>
                <a:gd name="T9" fmla="*/ 75 h 446"/>
                <a:gd name="T10" fmla="*/ 205 w 426"/>
                <a:gd name="T11" fmla="*/ 160 h 446"/>
                <a:gd name="T12" fmla="*/ 59 w 426"/>
                <a:gd name="T13" fmla="*/ 446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6" h="446">
                  <a:moveTo>
                    <a:pt x="59" y="446"/>
                  </a:moveTo>
                  <a:cubicBezTo>
                    <a:pt x="29" y="401"/>
                    <a:pt x="13" y="347"/>
                    <a:pt x="13" y="289"/>
                  </a:cubicBezTo>
                  <a:cubicBezTo>
                    <a:pt x="13" y="129"/>
                    <a:pt x="142" y="0"/>
                    <a:pt x="302" y="0"/>
                  </a:cubicBezTo>
                  <a:cubicBezTo>
                    <a:pt x="364" y="0"/>
                    <a:pt x="390" y="17"/>
                    <a:pt x="399" y="24"/>
                  </a:cubicBezTo>
                  <a:cubicBezTo>
                    <a:pt x="415" y="38"/>
                    <a:pt x="426" y="56"/>
                    <a:pt x="424" y="75"/>
                  </a:cubicBezTo>
                  <a:cubicBezTo>
                    <a:pt x="419" y="150"/>
                    <a:pt x="312" y="135"/>
                    <a:pt x="205" y="160"/>
                  </a:cubicBezTo>
                  <a:cubicBezTo>
                    <a:pt x="49" y="197"/>
                    <a:pt x="0" y="332"/>
                    <a:pt x="59" y="446"/>
                  </a:cubicBezTo>
                  <a:close/>
                </a:path>
              </a:pathLst>
            </a:custGeom>
            <a:solidFill>
              <a:srgbClr val="92C0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6" name="Freeform 7"/>
            <p:cNvSpPr>
              <a:spLocks/>
            </p:cNvSpPr>
            <p:nvPr/>
          </p:nvSpPr>
          <p:spPr bwMode="auto">
            <a:xfrm>
              <a:off x="7028635" y="2563812"/>
              <a:ext cx="1616075" cy="1906588"/>
            </a:xfrm>
            <a:custGeom>
              <a:avLst/>
              <a:gdLst>
                <a:gd name="T0" fmla="*/ 423 w 429"/>
                <a:gd name="T1" fmla="*/ 0 h 506"/>
                <a:gd name="T2" fmla="*/ 418 w 429"/>
                <a:gd name="T3" fmla="*/ 55 h 506"/>
                <a:gd name="T4" fmla="*/ 97 w 429"/>
                <a:gd name="T5" fmla="*/ 267 h 506"/>
                <a:gd name="T6" fmla="*/ 208 w 429"/>
                <a:gd name="T7" fmla="*/ 498 h 506"/>
                <a:gd name="T8" fmla="*/ 206 w 429"/>
                <a:gd name="T9" fmla="*/ 503 h 506"/>
                <a:gd name="T10" fmla="*/ 59 w 429"/>
                <a:gd name="T11" fmla="*/ 386 h 506"/>
                <a:gd name="T12" fmla="*/ 205 w 429"/>
                <a:gd name="T13" fmla="*/ 100 h 506"/>
                <a:gd name="T14" fmla="*/ 424 w 429"/>
                <a:gd name="T15" fmla="*/ 15 h 506"/>
                <a:gd name="T16" fmla="*/ 423 w 429"/>
                <a:gd name="T17" fmla="*/ 0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9" h="506">
                  <a:moveTo>
                    <a:pt x="423" y="0"/>
                  </a:moveTo>
                  <a:cubicBezTo>
                    <a:pt x="429" y="22"/>
                    <a:pt x="426" y="39"/>
                    <a:pt x="418" y="55"/>
                  </a:cubicBezTo>
                  <a:cubicBezTo>
                    <a:pt x="363" y="165"/>
                    <a:pt x="148" y="87"/>
                    <a:pt x="97" y="267"/>
                  </a:cubicBezTo>
                  <a:cubicBezTo>
                    <a:pt x="76" y="351"/>
                    <a:pt x="120" y="450"/>
                    <a:pt x="208" y="498"/>
                  </a:cubicBezTo>
                  <a:cubicBezTo>
                    <a:pt x="216" y="503"/>
                    <a:pt x="215" y="506"/>
                    <a:pt x="206" y="503"/>
                  </a:cubicBezTo>
                  <a:cubicBezTo>
                    <a:pt x="145" y="481"/>
                    <a:pt x="93" y="440"/>
                    <a:pt x="59" y="386"/>
                  </a:cubicBezTo>
                  <a:cubicBezTo>
                    <a:pt x="0" y="272"/>
                    <a:pt x="49" y="137"/>
                    <a:pt x="205" y="100"/>
                  </a:cubicBezTo>
                  <a:cubicBezTo>
                    <a:pt x="312" y="75"/>
                    <a:pt x="419" y="90"/>
                    <a:pt x="424" y="15"/>
                  </a:cubicBezTo>
                  <a:cubicBezTo>
                    <a:pt x="425" y="10"/>
                    <a:pt x="424" y="5"/>
                    <a:pt x="423" y="0"/>
                  </a:cubicBezTo>
                  <a:close/>
                </a:path>
              </a:pathLst>
            </a:custGeom>
            <a:solidFill>
              <a:srgbClr val="5C7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7" name="Freeform 8"/>
            <p:cNvSpPr>
              <a:spLocks/>
            </p:cNvSpPr>
            <p:nvPr/>
          </p:nvSpPr>
          <p:spPr bwMode="auto">
            <a:xfrm>
              <a:off x="8131947" y="2398712"/>
              <a:ext cx="1144588" cy="1612900"/>
            </a:xfrm>
            <a:custGeom>
              <a:avLst/>
              <a:gdLst>
                <a:gd name="T0" fmla="*/ 114 w 304"/>
                <a:gd name="T1" fmla="*/ 3 h 428"/>
                <a:gd name="T2" fmla="*/ 285 w 304"/>
                <a:gd name="T3" fmla="*/ 186 h 428"/>
                <a:gd name="T4" fmla="*/ 260 w 304"/>
                <a:gd name="T5" fmla="*/ 317 h 428"/>
                <a:gd name="T6" fmla="*/ 23 w 304"/>
                <a:gd name="T7" fmla="*/ 311 h 428"/>
                <a:gd name="T8" fmla="*/ 157 w 304"/>
                <a:gd name="T9" fmla="*/ 78 h 428"/>
                <a:gd name="T10" fmla="*/ 112 w 304"/>
                <a:gd name="T11" fmla="*/ 7 h 428"/>
                <a:gd name="T12" fmla="*/ 114 w 304"/>
                <a:gd name="T13" fmla="*/ 3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4" h="428">
                  <a:moveTo>
                    <a:pt x="114" y="3"/>
                  </a:moveTo>
                  <a:cubicBezTo>
                    <a:pt x="195" y="35"/>
                    <a:pt x="259" y="102"/>
                    <a:pt x="285" y="186"/>
                  </a:cubicBezTo>
                  <a:cubicBezTo>
                    <a:pt x="285" y="186"/>
                    <a:pt x="304" y="256"/>
                    <a:pt x="260" y="317"/>
                  </a:cubicBezTo>
                  <a:cubicBezTo>
                    <a:pt x="180" y="428"/>
                    <a:pt x="37" y="388"/>
                    <a:pt x="23" y="311"/>
                  </a:cubicBezTo>
                  <a:cubicBezTo>
                    <a:pt x="0" y="188"/>
                    <a:pt x="170" y="200"/>
                    <a:pt x="157" y="78"/>
                  </a:cubicBezTo>
                  <a:cubicBezTo>
                    <a:pt x="153" y="48"/>
                    <a:pt x="134" y="23"/>
                    <a:pt x="112" y="7"/>
                  </a:cubicBezTo>
                  <a:cubicBezTo>
                    <a:pt x="103" y="1"/>
                    <a:pt x="105" y="0"/>
                    <a:pt x="114" y="3"/>
                  </a:cubicBezTo>
                  <a:close/>
                </a:path>
              </a:pathLst>
            </a:custGeom>
            <a:solidFill>
              <a:srgbClr val="167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8" name="Freeform 9"/>
            <p:cNvSpPr>
              <a:spLocks/>
            </p:cNvSpPr>
            <p:nvPr/>
          </p:nvSpPr>
          <p:spPr bwMode="auto">
            <a:xfrm>
              <a:off x="8093847" y="3098800"/>
              <a:ext cx="1182688" cy="1371600"/>
            </a:xfrm>
            <a:custGeom>
              <a:avLst/>
              <a:gdLst>
                <a:gd name="T0" fmla="*/ 113 w 314"/>
                <a:gd name="T1" fmla="*/ 361 h 364"/>
                <a:gd name="T2" fmla="*/ 111 w 314"/>
                <a:gd name="T3" fmla="*/ 357 h 364"/>
                <a:gd name="T4" fmla="*/ 135 w 314"/>
                <a:gd name="T5" fmla="*/ 302 h 364"/>
                <a:gd name="T6" fmla="*/ 8 w 314"/>
                <a:gd name="T7" fmla="*/ 155 h 364"/>
                <a:gd name="T8" fmla="*/ 80 w 314"/>
                <a:gd name="T9" fmla="*/ 20 h 364"/>
                <a:gd name="T10" fmla="*/ 33 w 314"/>
                <a:gd name="T11" fmla="*/ 125 h 364"/>
                <a:gd name="T12" fmla="*/ 270 w 314"/>
                <a:gd name="T13" fmla="*/ 131 h 364"/>
                <a:gd name="T14" fmla="*/ 295 w 314"/>
                <a:gd name="T15" fmla="*/ 0 h 364"/>
                <a:gd name="T16" fmla="*/ 309 w 314"/>
                <a:gd name="T17" fmla="*/ 87 h 364"/>
                <a:gd name="T18" fmla="*/ 113 w 314"/>
                <a:gd name="T19" fmla="*/ 361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4" h="364">
                  <a:moveTo>
                    <a:pt x="113" y="361"/>
                  </a:moveTo>
                  <a:cubicBezTo>
                    <a:pt x="104" y="364"/>
                    <a:pt x="103" y="363"/>
                    <a:pt x="111" y="357"/>
                  </a:cubicBezTo>
                  <a:cubicBezTo>
                    <a:pt x="125" y="346"/>
                    <a:pt x="138" y="327"/>
                    <a:pt x="135" y="302"/>
                  </a:cubicBezTo>
                  <a:cubicBezTo>
                    <a:pt x="126" y="231"/>
                    <a:pt x="24" y="241"/>
                    <a:pt x="8" y="155"/>
                  </a:cubicBezTo>
                  <a:cubicBezTo>
                    <a:pt x="0" y="114"/>
                    <a:pt x="17" y="66"/>
                    <a:pt x="80" y="20"/>
                  </a:cubicBezTo>
                  <a:cubicBezTo>
                    <a:pt x="49" y="45"/>
                    <a:pt x="23" y="73"/>
                    <a:pt x="33" y="125"/>
                  </a:cubicBezTo>
                  <a:cubicBezTo>
                    <a:pt x="47" y="202"/>
                    <a:pt x="190" y="242"/>
                    <a:pt x="270" y="131"/>
                  </a:cubicBezTo>
                  <a:cubicBezTo>
                    <a:pt x="314" y="70"/>
                    <a:pt x="295" y="0"/>
                    <a:pt x="295" y="0"/>
                  </a:cubicBezTo>
                  <a:cubicBezTo>
                    <a:pt x="304" y="27"/>
                    <a:pt x="309" y="57"/>
                    <a:pt x="309" y="87"/>
                  </a:cubicBezTo>
                  <a:cubicBezTo>
                    <a:pt x="309" y="214"/>
                    <a:pt x="227" y="322"/>
                    <a:pt x="113" y="361"/>
                  </a:cubicBezTo>
                  <a:close/>
                </a:path>
              </a:pathLst>
            </a:custGeom>
            <a:solidFill>
              <a:srgbClr val="1D3B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  <p:graphicFrame>
        <p:nvGraphicFramePr>
          <p:cNvPr id="9" name="Objeto 1" hidden="1">
            <a:extLst>
              <a:ext uri="{FF2B5EF4-FFF2-40B4-BE49-F238E27FC236}">
                <a16:creationId xmlns:a16="http://schemas.microsoft.com/office/drawing/2014/main" id="{0428BF89-E8C6-4980-8591-7AC4FFE5CA4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9" name="Objeto 1" hidden="1">
                        <a:extLst>
                          <a:ext uri="{FF2B5EF4-FFF2-40B4-BE49-F238E27FC236}">
                            <a16:creationId xmlns:a16="http://schemas.microsoft.com/office/drawing/2014/main" id="{0428BF89-E8C6-4980-8591-7AC4FFE5CA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upo 2">
            <a:extLst>
              <a:ext uri="{FF2B5EF4-FFF2-40B4-BE49-F238E27FC236}">
                <a16:creationId xmlns:a16="http://schemas.microsoft.com/office/drawing/2014/main" id="{523CC4A1-4839-44FF-B775-E87E822D7869}"/>
              </a:ext>
            </a:extLst>
          </p:cNvPr>
          <p:cNvGrpSpPr/>
          <p:nvPr userDrawn="1"/>
        </p:nvGrpSpPr>
        <p:grpSpPr>
          <a:xfrm>
            <a:off x="11495088" y="231527"/>
            <a:ext cx="486895" cy="488139"/>
            <a:chOff x="6922272" y="2182812"/>
            <a:chExt cx="2486025" cy="2492375"/>
          </a:xfrm>
        </p:grpSpPr>
        <p:sp>
          <p:nvSpPr>
            <p:cNvPr id="11" name="Oval 5">
              <a:extLst>
                <a:ext uri="{FF2B5EF4-FFF2-40B4-BE49-F238E27FC236}">
                  <a16:creationId xmlns:a16="http://schemas.microsoft.com/office/drawing/2014/main" id="{100096C9-92E8-41BC-95ED-2DEB564F27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6922272" y="2182812"/>
              <a:ext cx="2486025" cy="2492375"/>
            </a:xfrm>
            <a:prstGeom prst="ellipse">
              <a:avLst/>
            </a:pr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2" name="Freeform 6">
              <a:extLst>
                <a:ext uri="{FF2B5EF4-FFF2-40B4-BE49-F238E27FC236}">
                  <a16:creationId xmlns:a16="http://schemas.microsoft.com/office/drawing/2014/main" id="{87DE8D47-7E69-4739-8092-3D5A16B27CA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8635" y="2338387"/>
              <a:ext cx="1603375" cy="1679575"/>
            </a:xfrm>
            <a:custGeom>
              <a:avLst/>
              <a:gdLst>
                <a:gd name="T0" fmla="*/ 59 w 426"/>
                <a:gd name="T1" fmla="*/ 446 h 446"/>
                <a:gd name="T2" fmla="*/ 13 w 426"/>
                <a:gd name="T3" fmla="*/ 289 h 446"/>
                <a:gd name="T4" fmla="*/ 302 w 426"/>
                <a:gd name="T5" fmla="*/ 0 h 446"/>
                <a:gd name="T6" fmla="*/ 399 w 426"/>
                <a:gd name="T7" fmla="*/ 24 h 446"/>
                <a:gd name="T8" fmla="*/ 424 w 426"/>
                <a:gd name="T9" fmla="*/ 75 h 446"/>
                <a:gd name="T10" fmla="*/ 205 w 426"/>
                <a:gd name="T11" fmla="*/ 160 h 446"/>
                <a:gd name="T12" fmla="*/ 59 w 426"/>
                <a:gd name="T13" fmla="*/ 446 h 4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26" h="446">
                  <a:moveTo>
                    <a:pt x="59" y="446"/>
                  </a:moveTo>
                  <a:cubicBezTo>
                    <a:pt x="29" y="401"/>
                    <a:pt x="13" y="347"/>
                    <a:pt x="13" y="289"/>
                  </a:cubicBezTo>
                  <a:cubicBezTo>
                    <a:pt x="13" y="129"/>
                    <a:pt x="142" y="0"/>
                    <a:pt x="302" y="0"/>
                  </a:cubicBezTo>
                  <a:cubicBezTo>
                    <a:pt x="364" y="0"/>
                    <a:pt x="390" y="17"/>
                    <a:pt x="399" y="24"/>
                  </a:cubicBezTo>
                  <a:cubicBezTo>
                    <a:pt x="415" y="38"/>
                    <a:pt x="426" y="56"/>
                    <a:pt x="424" y="75"/>
                  </a:cubicBezTo>
                  <a:cubicBezTo>
                    <a:pt x="419" y="150"/>
                    <a:pt x="312" y="135"/>
                    <a:pt x="205" y="160"/>
                  </a:cubicBezTo>
                  <a:cubicBezTo>
                    <a:pt x="49" y="197"/>
                    <a:pt x="0" y="332"/>
                    <a:pt x="59" y="446"/>
                  </a:cubicBezTo>
                  <a:close/>
                </a:path>
              </a:pathLst>
            </a:custGeom>
            <a:solidFill>
              <a:srgbClr val="92C02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3" name="Freeform 7">
              <a:extLst>
                <a:ext uri="{FF2B5EF4-FFF2-40B4-BE49-F238E27FC236}">
                  <a16:creationId xmlns:a16="http://schemas.microsoft.com/office/drawing/2014/main" id="{266568DC-BF8E-44A6-B232-12BE9BDEA783}"/>
                </a:ext>
              </a:extLst>
            </p:cNvPr>
            <p:cNvSpPr>
              <a:spLocks/>
            </p:cNvSpPr>
            <p:nvPr/>
          </p:nvSpPr>
          <p:spPr bwMode="auto">
            <a:xfrm>
              <a:off x="7028635" y="2563812"/>
              <a:ext cx="1616075" cy="1906588"/>
            </a:xfrm>
            <a:custGeom>
              <a:avLst/>
              <a:gdLst>
                <a:gd name="T0" fmla="*/ 423 w 429"/>
                <a:gd name="T1" fmla="*/ 0 h 506"/>
                <a:gd name="T2" fmla="*/ 418 w 429"/>
                <a:gd name="T3" fmla="*/ 55 h 506"/>
                <a:gd name="T4" fmla="*/ 97 w 429"/>
                <a:gd name="T5" fmla="*/ 267 h 506"/>
                <a:gd name="T6" fmla="*/ 208 w 429"/>
                <a:gd name="T7" fmla="*/ 498 h 506"/>
                <a:gd name="T8" fmla="*/ 206 w 429"/>
                <a:gd name="T9" fmla="*/ 503 h 506"/>
                <a:gd name="T10" fmla="*/ 59 w 429"/>
                <a:gd name="T11" fmla="*/ 386 h 506"/>
                <a:gd name="T12" fmla="*/ 205 w 429"/>
                <a:gd name="T13" fmla="*/ 100 h 506"/>
                <a:gd name="T14" fmla="*/ 424 w 429"/>
                <a:gd name="T15" fmla="*/ 15 h 506"/>
                <a:gd name="T16" fmla="*/ 423 w 429"/>
                <a:gd name="T17" fmla="*/ 0 h 5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29" h="506">
                  <a:moveTo>
                    <a:pt x="423" y="0"/>
                  </a:moveTo>
                  <a:cubicBezTo>
                    <a:pt x="429" y="22"/>
                    <a:pt x="426" y="39"/>
                    <a:pt x="418" y="55"/>
                  </a:cubicBezTo>
                  <a:cubicBezTo>
                    <a:pt x="363" y="165"/>
                    <a:pt x="148" y="87"/>
                    <a:pt x="97" y="267"/>
                  </a:cubicBezTo>
                  <a:cubicBezTo>
                    <a:pt x="76" y="351"/>
                    <a:pt x="120" y="450"/>
                    <a:pt x="208" y="498"/>
                  </a:cubicBezTo>
                  <a:cubicBezTo>
                    <a:pt x="216" y="503"/>
                    <a:pt x="215" y="506"/>
                    <a:pt x="206" y="503"/>
                  </a:cubicBezTo>
                  <a:cubicBezTo>
                    <a:pt x="145" y="481"/>
                    <a:pt x="93" y="440"/>
                    <a:pt x="59" y="386"/>
                  </a:cubicBezTo>
                  <a:cubicBezTo>
                    <a:pt x="0" y="272"/>
                    <a:pt x="49" y="137"/>
                    <a:pt x="205" y="100"/>
                  </a:cubicBezTo>
                  <a:cubicBezTo>
                    <a:pt x="312" y="75"/>
                    <a:pt x="419" y="90"/>
                    <a:pt x="424" y="15"/>
                  </a:cubicBezTo>
                  <a:cubicBezTo>
                    <a:pt x="425" y="10"/>
                    <a:pt x="424" y="5"/>
                    <a:pt x="423" y="0"/>
                  </a:cubicBezTo>
                  <a:close/>
                </a:path>
              </a:pathLst>
            </a:custGeom>
            <a:solidFill>
              <a:srgbClr val="5C772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4" name="Freeform 8">
              <a:extLst>
                <a:ext uri="{FF2B5EF4-FFF2-40B4-BE49-F238E27FC236}">
                  <a16:creationId xmlns:a16="http://schemas.microsoft.com/office/drawing/2014/main" id="{84E89113-9FFA-4B2E-9C80-ABAED7E54482}"/>
                </a:ext>
              </a:extLst>
            </p:cNvPr>
            <p:cNvSpPr>
              <a:spLocks/>
            </p:cNvSpPr>
            <p:nvPr/>
          </p:nvSpPr>
          <p:spPr bwMode="auto">
            <a:xfrm>
              <a:off x="8131947" y="2398712"/>
              <a:ext cx="1144588" cy="1612900"/>
            </a:xfrm>
            <a:custGeom>
              <a:avLst/>
              <a:gdLst>
                <a:gd name="T0" fmla="*/ 114 w 304"/>
                <a:gd name="T1" fmla="*/ 3 h 428"/>
                <a:gd name="T2" fmla="*/ 285 w 304"/>
                <a:gd name="T3" fmla="*/ 186 h 428"/>
                <a:gd name="T4" fmla="*/ 260 w 304"/>
                <a:gd name="T5" fmla="*/ 317 h 428"/>
                <a:gd name="T6" fmla="*/ 23 w 304"/>
                <a:gd name="T7" fmla="*/ 311 h 428"/>
                <a:gd name="T8" fmla="*/ 157 w 304"/>
                <a:gd name="T9" fmla="*/ 78 h 428"/>
                <a:gd name="T10" fmla="*/ 112 w 304"/>
                <a:gd name="T11" fmla="*/ 7 h 428"/>
                <a:gd name="T12" fmla="*/ 114 w 304"/>
                <a:gd name="T13" fmla="*/ 3 h 4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04" h="428">
                  <a:moveTo>
                    <a:pt x="114" y="3"/>
                  </a:moveTo>
                  <a:cubicBezTo>
                    <a:pt x="195" y="35"/>
                    <a:pt x="259" y="102"/>
                    <a:pt x="285" y="186"/>
                  </a:cubicBezTo>
                  <a:cubicBezTo>
                    <a:pt x="285" y="186"/>
                    <a:pt x="304" y="256"/>
                    <a:pt x="260" y="317"/>
                  </a:cubicBezTo>
                  <a:cubicBezTo>
                    <a:pt x="180" y="428"/>
                    <a:pt x="37" y="388"/>
                    <a:pt x="23" y="311"/>
                  </a:cubicBezTo>
                  <a:cubicBezTo>
                    <a:pt x="0" y="188"/>
                    <a:pt x="170" y="200"/>
                    <a:pt x="157" y="78"/>
                  </a:cubicBezTo>
                  <a:cubicBezTo>
                    <a:pt x="153" y="48"/>
                    <a:pt x="134" y="23"/>
                    <a:pt x="112" y="7"/>
                  </a:cubicBezTo>
                  <a:cubicBezTo>
                    <a:pt x="103" y="1"/>
                    <a:pt x="105" y="0"/>
                    <a:pt x="114" y="3"/>
                  </a:cubicBezTo>
                  <a:close/>
                </a:path>
              </a:pathLst>
            </a:custGeom>
            <a:solidFill>
              <a:srgbClr val="1673A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  <p:sp>
          <p:nvSpPr>
            <p:cNvPr id="15" name="Freeform 9">
              <a:extLst>
                <a:ext uri="{FF2B5EF4-FFF2-40B4-BE49-F238E27FC236}">
                  <a16:creationId xmlns:a16="http://schemas.microsoft.com/office/drawing/2014/main" id="{B46A825C-695A-41D9-BCDA-F0265B4CC214}"/>
                </a:ext>
              </a:extLst>
            </p:cNvPr>
            <p:cNvSpPr>
              <a:spLocks/>
            </p:cNvSpPr>
            <p:nvPr/>
          </p:nvSpPr>
          <p:spPr bwMode="auto">
            <a:xfrm>
              <a:off x="8093847" y="3098800"/>
              <a:ext cx="1182688" cy="1371600"/>
            </a:xfrm>
            <a:custGeom>
              <a:avLst/>
              <a:gdLst>
                <a:gd name="T0" fmla="*/ 113 w 314"/>
                <a:gd name="T1" fmla="*/ 361 h 364"/>
                <a:gd name="T2" fmla="*/ 111 w 314"/>
                <a:gd name="T3" fmla="*/ 357 h 364"/>
                <a:gd name="T4" fmla="*/ 135 w 314"/>
                <a:gd name="T5" fmla="*/ 302 h 364"/>
                <a:gd name="T6" fmla="*/ 8 w 314"/>
                <a:gd name="T7" fmla="*/ 155 h 364"/>
                <a:gd name="T8" fmla="*/ 80 w 314"/>
                <a:gd name="T9" fmla="*/ 20 h 364"/>
                <a:gd name="T10" fmla="*/ 33 w 314"/>
                <a:gd name="T11" fmla="*/ 125 h 364"/>
                <a:gd name="T12" fmla="*/ 270 w 314"/>
                <a:gd name="T13" fmla="*/ 131 h 364"/>
                <a:gd name="T14" fmla="*/ 295 w 314"/>
                <a:gd name="T15" fmla="*/ 0 h 364"/>
                <a:gd name="T16" fmla="*/ 309 w 314"/>
                <a:gd name="T17" fmla="*/ 87 h 364"/>
                <a:gd name="T18" fmla="*/ 113 w 314"/>
                <a:gd name="T19" fmla="*/ 361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14" h="364">
                  <a:moveTo>
                    <a:pt x="113" y="361"/>
                  </a:moveTo>
                  <a:cubicBezTo>
                    <a:pt x="104" y="364"/>
                    <a:pt x="103" y="363"/>
                    <a:pt x="111" y="357"/>
                  </a:cubicBezTo>
                  <a:cubicBezTo>
                    <a:pt x="125" y="346"/>
                    <a:pt x="138" y="327"/>
                    <a:pt x="135" y="302"/>
                  </a:cubicBezTo>
                  <a:cubicBezTo>
                    <a:pt x="126" y="231"/>
                    <a:pt x="24" y="241"/>
                    <a:pt x="8" y="155"/>
                  </a:cubicBezTo>
                  <a:cubicBezTo>
                    <a:pt x="0" y="114"/>
                    <a:pt x="17" y="66"/>
                    <a:pt x="80" y="20"/>
                  </a:cubicBezTo>
                  <a:cubicBezTo>
                    <a:pt x="49" y="45"/>
                    <a:pt x="23" y="73"/>
                    <a:pt x="33" y="125"/>
                  </a:cubicBezTo>
                  <a:cubicBezTo>
                    <a:pt x="47" y="202"/>
                    <a:pt x="190" y="242"/>
                    <a:pt x="270" y="131"/>
                  </a:cubicBezTo>
                  <a:cubicBezTo>
                    <a:pt x="314" y="70"/>
                    <a:pt x="295" y="0"/>
                    <a:pt x="295" y="0"/>
                  </a:cubicBezTo>
                  <a:cubicBezTo>
                    <a:pt x="304" y="27"/>
                    <a:pt x="309" y="57"/>
                    <a:pt x="309" y="87"/>
                  </a:cubicBezTo>
                  <a:cubicBezTo>
                    <a:pt x="309" y="214"/>
                    <a:pt x="227" y="322"/>
                    <a:pt x="113" y="361"/>
                  </a:cubicBezTo>
                  <a:close/>
                </a:path>
              </a:pathLst>
            </a:custGeom>
            <a:solidFill>
              <a:srgbClr val="1D3B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s-CL"/>
            </a:p>
          </p:txBody>
        </p:sp>
      </p:grpSp>
    </p:spTree>
    <p:extLst>
      <p:ext uri="{BB962C8B-B14F-4D97-AF65-F5344CB8AC3E}">
        <p14:creationId xmlns:p14="http://schemas.microsoft.com/office/powerpoint/2010/main" val="88783375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B53FF72C-2671-4E30-B333-48587CDAE35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888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9658611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34A03CA4-5BB5-42DA-89DC-0A35FFAD383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9" y="0"/>
            <a:ext cx="12185905" cy="6858000"/>
          </a:xfrm>
          <a:prstGeom prst="rect">
            <a:avLst/>
          </a:prstGeom>
        </p:spPr>
      </p:pic>
      <p:pic>
        <p:nvPicPr>
          <p:cNvPr id="3" name="Imagen 2">
            <a:extLst>
              <a:ext uri="{FF2B5EF4-FFF2-40B4-BE49-F238E27FC236}">
                <a16:creationId xmlns:a16="http://schemas.microsoft.com/office/drawing/2014/main" id="{AA042A72-7A63-4E88-9FD2-37E44CD7AF8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7" y="2456"/>
            <a:ext cx="12187238" cy="68555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4896502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64E3EA02-8AAA-4874-8842-6A78965D262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59" y="0"/>
            <a:ext cx="12185905" cy="6858000"/>
          </a:xfrm>
          <a:prstGeom prst="rect">
            <a:avLst/>
          </a:prstGeom>
        </p:spPr>
      </p:pic>
      <p:pic>
        <p:nvPicPr>
          <p:cNvPr id="4" name="Imagen 3">
            <a:extLst>
              <a:ext uri="{FF2B5EF4-FFF2-40B4-BE49-F238E27FC236}">
                <a16:creationId xmlns:a16="http://schemas.microsoft.com/office/drawing/2014/main" id="{8522E429-903D-41C9-B24F-AB0D249EB00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87" y="1788"/>
            <a:ext cx="12185777" cy="68530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558883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>
            <a:extLst>
              <a:ext uri="{FF2B5EF4-FFF2-40B4-BE49-F238E27FC236}">
                <a16:creationId xmlns:a16="http://schemas.microsoft.com/office/drawing/2014/main" id="{6EECD932-0FF8-400C-A348-28220A809BE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98" y="0"/>
            <a:ext cx="12188301" cy="6860082"/>
          </a:xfrm>
          <a:prstGeom prst="rect">
            <a:avLst/>
          </a:prstGeom>
        </p:spPr>
      </p:pic>
      <p:sp>
        <p:nvSpPr>
          <p:cNvPr id="4" name="Rectángulo 3">
            <a:extLst>
              <a:ext uri="{FF2B5EF4-FFF2-40B4-BE49-F238E27FC236}">
                <a16:creationId xmlns:a16="http://schemas.microsoft.com/office/drawing/2014/main" id="{66C1955E-69DC-4392-B52B-4C0F18F9492C}"/>
              </a:ext>
            </a:extLst>
          </p:cNvPr>
          <p:cNvSpPr/>
          <p:nvPr userDrawn="1"/>
        </p:nvSpPr>
        <p:spPr bwMode="auto">
          <a:xfrm>
            <a:off x="1" y="0"/>
            <a:ext cx="12196060" cy="6858001"/>
          </a:xfrm>
          <a:prstGeom prst="rect">
            <a:avLst/>
          </a:prstGeom>
          <a:solidFill>
            <a:schemeClr val="bg1">
              <a:alpha val="54000"/>
            </a:schemeClr>
          </a:soli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L" sz="1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0441892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8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36F397AB-ABC6-4194-ABE9-7A052ADE95B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20" y="0"/>
            <a:ext cx="1218590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633082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9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82AB2D6A-6063-4C7B-A59E-E96030848B3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2082"/>
            <a:ext cx="12188301" cy="68600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641851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to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Imagen 3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562"/>
            <a:ext cx="12188825" cy="6854875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 bwMode="auto">
          <a:xfrm>
            <a:off x="1" y="1562"/>
            <a:ext cx="12188824" cy="6856437"/>
          </a:xfrm>
          <a:prstGeom prst="rect">
            <a:avLst/>
          </a:prstGeom>
          <a:gradFill>
            <a:gsLst>
              <a:gs pos="0">
                <a:schemeClr val="accent2"/>
              </a:gs>
              <a:gs pos="100000">
                <a:schemeClr val="accent2">
                  <a:alpha val="60000"/>
                </a:schemeClr>
              </a:gs>
            </a:gsLst>
            <a:lin ang="540000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  <p:pic>
        <p:nvPicPr>
          <p:cNvPr id="5" name="Imagen 3">
            <a:extLst>
              <a:ext uri="{FF2B5EF4-FFF2-40B4-BE49-F238E27FC236}">
                <a16:creationId xmlns:a16="http://schemas.microsoft.com/office/drawing/2014/main" id="{325A3F1D-8CBC-4592-B623-ABFAB546B947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88825" cy="6856214"/>
          </a:xfrm>
          <a:prstGeom prst="rect">
            <a:avLst/>
          </a:prstGeom>
        </p:spPr>
      </p:pic>
      <p:sp>
        <p:nvSpPr>
          <p:cNvPr id="6" name="Rectángulo 4">
            <a:extLst>
              <a:ext uri="{FF2B5EF4-FFF2-40B4-BE49-F238E27FC236}">
                <a16:creationId xmlns:a16="http://schemas.microsoft.com/office/drawing/2014/main" id="{2E983D07-DF2D-4A66-AF25-E791103C4A68}"/>
              </a:ext>
            </a:extLst>
          </p:cNvPr>
          <p:cNvSpPr/>
          <p:nvPr userDrawn="1"/>
        </p:nvSpPr>
        <p:spPr bwMode="auto">
          <a:xfrm>
            <a:off x="0" y="0"/>
            <a:ext cx="12188825" cy="6858000"/>
          </a:xfrm>
          <a:prstGeom prst="rect">
            <a:avLst/>
          </a:prstGeom>
          <a:solidFill>
            <a:schemeClr val="accent1">
              <a:alpha val="50000"/>
            </a:schemeClr>
          </a:soli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  <p:sp>
        <p:nvSpPr>
          <p:cNvPr id="7" name="Rectángulo 9">
            <a:extLst>
              <a:ext uri="{FF2B5EF4-FFF2-40B4-BE49-F238E27FC236}">
                <a16:creationId xmlns:a16="http://schemas.microsoft.com/office/drawing/2014/main" id="{5947BF9C-44F9-430D-8528-7E321537259E}"/>
              </a:ext>
            </a:extLst>
          </p:cNvPr>
          <p:cNvSpPr/>
          <p:nvPr userDrawn="1"/>
        </p:nvSpPr>
        <p:spPr bwMode="auto">
          <a:xfrm rot="10800000">
            <a:off x="-1" y="0"/>
            <a:ext cx="12192000" cy="6857999"/>
          </a:xfrm>
          <a:prstGeom prst="rect">
            <a:avLst/>
          </a:prstGeom>
          <a:gradFill>
            <a:gsLst>
              <a:gs pos="22000">
                <a:schemeClr val="bg1"/>
              </a:gs>
              <a:gs pos="100000">
                <a:schemeClr val="bg1">
                  <a:alpha val="40000"/>
                </a:schemeClr>
              </a:gs>
            </a:gsLst>
            <a:lin ang="5400000" scaled="1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31311162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0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86F5C8EC-23B9-4C6B-AE3F-EDE36027F9B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-74394"/>
            <a:ext cx="12229974" cy="6932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057633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>
            <a:extLst>
              <a:ext uri="{FF2B5EF4-FFF2-40B4-BE49-F238E27FC236}">
                <a16:creationId xmlns:a16="http://schemas.microsoft.com/office/drawing/2014/main" id="{68814105-CA12-4995-9B05-92E58FAAC029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210288" cy="6860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836430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2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3">
            <a:extLst>
              <a:ext uri="{FF2B5EF4-FFF2-40B4-BE49-F238E27FC236}">
                <a16:creationId xmlns:a16="http://schemas.microsoft.com/office/drawing/2014/main" id="{E26283C6-C00B-40DC-B942-2EC19D3B1B2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893"/>
            <a:ext cx="12188825" cy="6856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0862933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C0DA9B50-E45F-42F1-80D8-6BE0B722C3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2425" cy="1325563"/>
          </a:xfrm>
          <a:prstGeom prst="rect">
            <a:avLst/>
          </a:prstGeo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pic>
        <p:nvPicPr>
          <p:cNvPr id="4" name="Imagen 3">
            <a:extLst>
              <a:ext uri="{FF2B5EF4-FFF2-40B4-BE49-F238E27FC236}">
                <a16:creationId xmlns:a16="http://schemas.microsoft.com/office/drawing/2014/main" id="{BA2FDC35-85F0-4CBC-99EA-4A1E7995B77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5569"/>
          <a:stretch/>
        </p:blipFill>
        <p:spPr>
          <a:xfrm>
            <a:off x="-1" y="0"/>
            <a:ext cx="12188825" cy="6858000"/>
          </a:xfrm>
          <a:prstGeom prst="rect">
            <a:avLst/>
          </a:prstGeom>
        </p:spPr>
      </p:pic>
      <p:sp>
        <p:nvSpPr>
          <p:cNvPr id="6" name="Rectángulo 5">
            <a:extLst>
              <a:ext uri="{FF2B5EF4-FFF2-40B4-BE49-F238E27FC236}">
                <a16:creationId xmlns:a16="http://schemas.microsoft.com/office/drawing/2014/main" id="{2065D5E8-B1F9-4FFF-B77E-FA9E3AF60149}"/>
              </a:ext>
            </a:extLst>
          </p:cNvPr>
          <p:cNvSpPr/>
          <p:nvPr userDrawn="1"/>
        </p:nvSpPr>
        <p:spPr bwMode="auto">
          <a:xfrm>
            <a:off x="0" y="0"/>
            <a:ext cx="12222560" cy="6858000"/>
          </a:xfrm>
          <a:prstGeom prst="rect">
            <a:avLst/>
          </a:prstGeom>
          <a:gradFill>
            <a:gsLst>
              <a:gs pos="0">
                <a:schemeClr val="tx2">
                  <a:alpha val="65000"/>
                </a:schemeClr>
              </a:gs>
              <a:gs pos="100000">
                <a:schemeClr val="tx2"/>
              </a:gs>
            </a:gsLst>
            <a:lin ang="540000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982464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442" y="273050"/>
            <a:ext cx="4010039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765492" y="273051"/>
            <a:ext cx="6813892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Edit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609442" y="1435101"/>
            <a:ext cx="4010039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Editar los estilos de texto del patrón</a:t>
            </a:r>
          </a:p>
        </p:txBody>
      </p:sp>
      <p:sp>
        <p:nvSpPr>
          <p:cNvPr id="5" name="4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342C39-C17E-4AD9-AE20-7BEC1ACA6479}" type="datetimeFigureOut">
              <a:rPr lang="es-CO" smtClean="0"/>
              <a:t>4/07/2023</a:t>
            </a:fld>
            <a:endParaRPr lang="es-CO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CO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792A2A7-5D56-42FF-A7A3-2CDA8F6E679A}" type="slidenum">
              <a:rPr lang="es-CO" smtClean="0"/>
              <a:t>‹Nº›</a:t>
            </a:fld>
            <a:endParaRPr lang="es-CO"/>
          </a:p>
        </p:txBody>
      </p:sp>
    </p:spTree>
    <p:extLst>
      <p:ext uri="{BB962C8B-B14F-4D97-AF65-F5344CB8AC3E}">
        <p14:creationId xmlns:p14="http://schemas.microsoft.com/office/powerpoint/2010/main" val="181606968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EA57179-286D-9A49-B903-36471AE34F6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39" y="5417397"/>
            <a:ext cx="11451644" cy="120767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40" y="379289"/>
            <a:ext cx="11445946" cy="513248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5544">
              <a:lnSpc>
                <a:spcPts val="19996"/>
              </a:lnSpc>
              <a:spcBef>
                <a:spcPts val="4059"/>
              </a:spcBef>
              <a:defRPr sz="19978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Large </a:t>
            </a:r>
            <a:br>
              <a:rPr lang="en-US"/>
            </a:br>
            <a:r>
              <a:rPr lang="en-US"/>
              <a:t>title</a:t>
            </a:r>
            <a:endParaRPr/>
          </a:p>
        </p:txBody>
      </p:sp>
      <p:pic>
        <p:nvPicPr>
          <p:cNvPr id="4" name="Picture 3" descr="A picture containing wheel&#10;&#10;Description automatically generated">
            <a:extLst>
              <a:ext uri="{FF2B5EF4-FFF2-40B4-BE49-F238E27FC236}">
                <a16:creationId xmlns:a16="http://schemas.microsoft.com/office/drawing/2014/main" id="{FFEF52C9-3B92-2747-AAA3-60EC8621094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064" y="5883835"/>
            <a:ext cx="1546741" cy="60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4137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EA57179-286D-9A49-B903-36471AE34F6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39" y="5417397"/>
            <a:ext cx="11451644" cy="120767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40" y="517912"/>
            <a:ext cx="11445946" cy="513248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5544">
              <a:lnSpc>
                <a:spcPts val="10004"/>
              </a:lnSpc>
              <a:spcBef>
                <a:spcPts val="4059"/>
              </a:spcBef>
              <a:defRPr sz="10004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Medium </a:t>
            </a:r>
            <a:br>
              <a:rPr lang="en-US"/>
            </a:br>
            <a:r>
              <a:rPr lang="en-US"/>
              <a:t>title</a:t>
            </a:r>
            <a:endParaRPr/>
          </a:p>
        </p:txBody>
      </p:sp>
      <p:pic>
        <p:nvPicPr>
          <p:cNvPr id="4" name="Picture 3" descr="A picture containing wheel&#10;&#10;Description automatically generated">
            <a:extLst>
              <a:ext uri="{FF2B5EF4-FFF2-40B4-BE49-F238E27FC236}">
                <a16:creationId xmlns:a16="http://schemas.microsoft.com/office/drawing/2014/main" id="{FFEF52C9-3B92-2747-AAA3-60EC8621094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064" y="5883835"/>
            <a:ext cx="1546741" cy="60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60310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7D77FE0C-2B42-7E49-890F-6743794687E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27166" y="382600"/>
            <a:ext cx="2700715" cy="1497131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2EE2625-BEEF-7E46-B852-B0D6DBFE5A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36074" y="1990630"/>
            <a:ext cx="4845347" cy="447475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181802" y="5345312"/>
            <a:ext cx="2516129" cy="382604"/>
          </a:xfrm>
        </p:spPr>
        <p:txBody>
          <a:bodyPr tIns="0">
            <a:noAutofit/>
          </a:bodyPr>
          <a:lstStyle>
            <a:lvl1pPr marL="0">
              <a:spcBef>
                <a:spcPts val="364"/>
              </a:spcBef>
              <a:defRPr sz="1940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latin typeface="Arial" charset="0"/>
                <a:ea typeface="Arial" charset="0"/>
                <a:cs typeface="Arial" charset="0"/>
              </a:defRPr>
            </a:lvl2pPr>
            <a:lvl3pPr>
              <a:defRPr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Introductory statemen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49023" y="701527"/>
            <a:ext cx="2633341" cy="648124"/>
          </a:xfrm>
        </p:spPr>
        <p:txBody>
          <a:bodyPr tIns="0">
            <a:noAutofit/>
          </a:bodyPr>
          <a:lstStyle>
            <a:lvl1pPr marL="0">
              <a:spcBef>
                <a:spcPts val="0"/>
              </a:spcBef>
              <a:defRPr sz="1940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latin typeface="Arial" charset="0"/>
                <a:ea typeface="Arial" charset="0"/>
                <a:cs typeface="Arial" charset="0"/>
              </a:defRPr>
            </a:lvl2pPr>
            <a:lvl3pPr>
              <a:defRPr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Date</a:t>
            </a:r>
          </a:p>
          <a:p>
            <a:pPr lvl="0"/>
            <a:r>
              <a:rPr lang="en-US"/>
              <a:t>Subhead</a:t>
            </a: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7151599" y="2809798"/>
            <a:ext cx="3572329" cy="196901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7700" marR="3080">
              <a:lnSpc>
                <a:spcPts val="4996"/>
              </a:lnSpc>
              <a:spcBef>
                <a:spcPts val="1061"/>
              </a:spcBef>
              <a:defRPr sz="5002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 marR="5080">
              <a:lnSpc>
                <a:spcPts val="8240"/>
              </a:lnSpc>
              <a:spcBef>
                <a:spcPts val="1750"/>
              </a:spcBef>
            </a:pPr>
            <a:r>
              <a:rPr lang="en-US" sz="5002" spc="-6">
                <a:solidFill>
                  <a:srgbClr val="010202"/>
                </a:solidFill>
                <a:latin typeface="Arial"/>
                <a:cs typeface="Arial"/>
              </a:rPr>
              <a:t>Presentation Title</a:t>
            </a:r>
            <a:endParaRPr lang="en-US" sz="5002">
              <a:latin typeface="Arial"/>
              <a:cs typeface="Arial"/>
            </a:endParaRPr>
          </a:p>
        </p:txBody>
      </p:sp>
      <p:sp>
        <p:nvSpPr>
          <p:cNvPr id="9" name="Holder 6">
            <a:extLst>
              <a:ext uri="{FF2B5EF4-FFF2-40B4-BE49-F238E27FC236}">
                <a16:creationId xmlns:a16="http://schemas.microsoft.com/office/drawing/2014/main" id="{5A099B78-E026-A84A-A699-B48505E5F37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650991" y="382600"/>
            <a:ext cx="172092" cy="933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60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9096D72-14E6-8047-8A10-918A2F0D0B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40" y="1874186"/>
            <a:ext cx="11481365" cy="121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84682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  <p15:guide id="9" pos="6428">
          <p15:clr>
            <a:srgbClr val="FBAE40"/>
          </p15:clr>
        </p15:guide>
        <p15:guide id="10" pos="8444">
          <p15:clr>
            <a:srgbClr val="FBAE40"/>
          </p15:clr>
        </p15:guide>
        <p15:guide id="12" orient="horz" pos="293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93E22AF4-9ECA-6848-B9C1-E3B07771CE2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157760" y="931548"/>
            <a:ext cx="3682041" cy="257839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4320D3A8-6E16-594B-9E2B-8C22FF2D0DFB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626384"/>
            <a:ext cx="7157760" cy="32326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1341618" y="869073"/>
            <a:ext cx="3686677" cy="196901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7700" marR="3080">
              <a:lnSpc>
                <a:spcPts val="4996"/>
              </a:lnSpc>
              <a:spcBef>
                <a:spcPts val="1061"/>
              </a:spcBef>
              <a:defRPr sz="5002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 marR="5080">
              <a:lnSpc>
                <a:spcPts val="8240"/>
              </a:lnSpc>
              <a:spcBef>
                <a:spcPts val="1750"/>
              </a:spcBef>
            </a:pPr>
            <a:r>
              <a:rPr lang="en-US" sz="5002" spc="-3"/>
              <a:t>Title with </a:t>
            </a:r>
            <a:r>
              <a:rPr lang="en-US" sz="5002" spc="-6">
                <a:solidFill>
                  <a:srgbClr val="1DA84A"/>
                </a:solidFill>
              </a:rPr>
              <a:t>green and </a:t>
            </a:r>
            <a:br>
              <a:rPr lang="en-US" sz="5002" spc="-6">
                <a:solidFill>
                  <a:srgbClr val="1DA84A"/>
                </a:solidFill>
              </a:rPr>
            </a:br>
            <a:r>
              <a:rPr lang="en-US" sz="5002" spc="-3"/>
              <a:t>black text</a:t>
            </a:r>
            <a:endParaRPr lang="en-US" sz="5002">
              <a:latin typeface="Arial"/>
              <a:cs typeface="Arial"/>
            </a:endParaRPr>
          </a:p>
        </p:txBody>
      </p:sp>
      <p:pic>
        <p:nvPicPr>
          <p:cNvPr id="20" name="Picture 19" descr="A picture containing wheel&#10;&#10;Description automatically generated">
            <a:extLst>
              <a:ext uri="{FF2B5EF4-FFF2-40B4-BE49-F238E27FC236}">
                <a16:creationId xmlns:a16="http://schemas.microsoft.com/office/drawing/2014/main" id="{41653854-ECE0-3B41-B714-2E91B5CE645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064" y="5883835"/>
            <a:ext cx="1546741" cy="603408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2531BB61-330E-8141-9C04-2EA05B2DA452}"/>
              </a:ext>
            </a:extLst>
          </p:cNvPr>
          <p:cNvSpPr/>
          <p:nvPr/>
        </p:nvSpPr>
        <p:spPr>
          <a:xfrm>
            <a:off x="371439" y="3509941"/>
            <a:ext cx="11451644" cy="116705"/>
          </a:xfrm>
          <a:prstGeom prst="rect">
            <a:avLst/>
          </a:prstGeom>
          <a:gradFill flip="none" rotWithShape="1">
            <a:gsLst>
              <a:gs pos="100000">
                <a:srgbClr val="3250FC"/>
              </a:gs>
              <a:gs pos="70000">
                <a:srgbClr val="9E70FF"/>
              </a:gs>
              <a:gs pos="34000">
                <a:srgbClr val="2ACEEB"/>
              </a:gs>
              <a:gs pos="0">
                <a:srgbClr val="2CBF38"/>
              </a:gs>
            </a:gsLst>
            <a:path path="circle">
              <a:fillToRect l="100000" t="100000"/>
            </a:path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91"/>
          </a:p>
        </p:txBody>
      </p:sp>
      <p:sp>
        <p:nvSpPr>
          <p:cNvPr id="14" name="Holder 6">
            <a:extLst>
              <a:ext uri="{FF2B5EF4-FFF2-40B4-BE49-F238E27FC236}">
                <a16:creationId xmlns:a16="http://schemas.microsoft.com/office/drawing/2014/main" id="{FE7A3AB4-2A5A-BD48-90EC-6D3AFC0757F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650991" y="382600"/>
            <a:ext cx="172092" cy="933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60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65462B46-67AA-6E44-83EF-0BD607BA3AC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127166" y="4431179"/>
            <a:ext cx="2633341" cy="648124"/>
          </a:xfrm>
        </p:spPr>
        <p:txBody>
          <a:bodyPr tIns="0">
            <a:noAutofit/>
          </a:bodyPr>
          <a:lstStyle>
            <a:lvl1pPr marL="0">
              <a:spcBef>
                <a:spcPts val="0"/>
              </a:spcBef>
              <a:defRPr sz="1940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latin typeface="Arial" charset="0"/>
                <a:ea typeface="Arial" charset="0"/>
                <a:cs typeface="Arial" charset="0"/>
              </a:defRPr>
            </a:lvl2pPr>
            <a:lvl3pPr>
              <a:defRPr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Subhead</a:t>
            </a:r>
          </a:p>
          <a:p>
            <a:pPr lvl="0"/>
            <a:r>
              <a:rPr 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69185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  <p15:guide id="9" pos="6428">
          <p15:clr>
            <a:srgbClr val="FBAE40"/>
          </p15:clr>
        </p15:guide>
        <p15:guide id="10" pos="8444">
          <p15:clr>
            <a:srgbClr val="FBAE40"/>
          </p15:clr>
        </p15:guide>
        <p15:guide id="12" orient="horz" pos="2938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8C637C7C-BEE7-064C-9851-9802BDCB894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61944" y="3163391"/>
            <a:ext cx="3690961" cy="248358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94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94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94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7161944" y="1685659"/>
            <a:ext cx="3690961" cy="19862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7700" marR="3080">
              <a:lnSpc>
                <a:spcPts val="4996"/>
              </a:lnSpc>
              <a:spcBef>
                <a:spcPts val="1061"/>
              </a:spcBef>
              <a:defRPr sz="5002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 marR="5080">
              <a:lnSpc>
                <a:spcPts val="8240"/>
              </a:lnSpc>
              <a:spcBef>
                <a:spcPts val="1750"/>
              </a:spcBef>
            </a:pPr>
            <a:r>
              <a:rPr lang="en-US" sz="5002" spc="-3"/>
              <a:t>Presentation Title</a:t>
            </a:r>
            <a:endParaRPr lang="en-US" sz="5002">
              <a:latin typeface="Arial"/>
              <a:cs typeface="Arial"/>
            </a:endParaRP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3EE9359-C4CF-F045-9C60-D5C9638414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371510"/>
            <a:ext cx="6186810" cy="609179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pic>
        <p:nvPicPr>
          <p:cNvPr id="22" name="Picture 21" descr="A picture containing wheel&#10;&#10;Description automatically generated">
            <a:extLst>
              <a:ext uri="{FF2B5EF4-FFF2-40B4-BE49-F238E27FC236}">
                <a16:creationId xmlns:a16="http://schemas.microsoft.com/office/drawing/2014/main" id="{ED0E0FFB-0640-CA4F-9B26-C32580330BF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064" y="5883835"/>
            <a:ext cx="1546741" cy="603408"/>
          </a:xfrm>
          <a:prstGeom prst="rect">
            <a:avLst/>
          </a:prstGeom>
        </p:spPr>
      </p:pic>
      <p:sp>
        <p:nvSpPr>
          <p:cNvPr id="11" name="Holder 6">
            <a:extLst>
              <a:ext uri="{FF2B5EF4-FFF2-40B4-BE49-F238E27FC236}">
                <a16:creationId xmlns:a16="http://schemas.microsoft.com/office/drawing/2014/main" id="{64A510D6-7281-A34D-9D20-1FEC25FDE74C}"/>
              </a:ext>
            </a:extLst>
          </p:cNvPr>
          <p:cNvSpPr txBox="1">
            <a:spLocks/>
          </p:cNvSpPr>
          <p:nvPr/>
        </p:nvSpPr>
        <p:spPr>
          <a:xfrm>
            <a:off x="11650991" y="382601"/>
            <a:ext cx="172092" cy="9323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en-US"/>
            </a:defPPr>
            <a:lvl1pPr marL="0" algn="r" defTabSz="914400" rtl="0" eaLnBrk="1" latinLnBrk="0" hangingPunct="1">
              <a:defRPr sz="1000" b="1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6F15528-21DE-4FAA-801E-634DDDAF4B2B}" type="slidenum">
              <a:rPr lang="en-US" sz="606" smtClean="0"/>
              <a:pPr/>
              <a:t>‹Nº›</a:t>
            </a:fld>
            <a:endParaRPr lang="en-US" sz="606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35B4C659-EB9F-A840-A6AD-B59A4B50F9C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156989" y="919342"/>
            <a:ext cx="583262" cy="583373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0700679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  <p15:guide id="12" orient="horz" pos="293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AEDCF383-6780-4881-AB7A-F8A2D487BC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99" imgH="499" progId="TCLayout.ActiveDocument.1">
                  <p:embed/>
                </p:oleObj>
              </mc:Choice>
              <mc:Fallback>
                <p:oleObj name="think-cell Slide" r:id="rId3" imgW="499" imgH="499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AEDCF383-6780-4881-AB7A-F8A2D487BC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 bwMode="auto">
          <a:xfrm>
            <a:off x="0" y="3462376"/>
            <a:ext cx="12191999" cy="3397802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540000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  <p:pic>
        <p:nvPicPr>
          <p:cNvPr id="5" name="Imagen 3">
            <a:extLst>
              <a:ext uri="{FF2B5EF4-FFF2-40B4-BE49-F238E27FC236}">
                <a16:creationId xmlns:a16="http://schemas.microsoft.com/office/drawing/2014/main" id="{17299893-C19C-45F8-BD71-8FE81AA77A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3"/>
            <a:ext cx="12188825" cy="6856214"/>
          </a:xfrm>
          <a:prstGeom prst="rect">
            <a:avLst/>
          </a:prstGeom>
        </p:spPr>
      </p:pic>
      <p:sp>
        <p:nvSpPr>
          <p:cNvPr id="6" name="Rectángulo 2">
            <a:extLst>
              <a:ext uri="{FF2B5EF4-FFF2-40B4-BE49-F238E27FC236}">
                <a16:creationId xmlns:a16="http://schemas.microsoft.com/office/drawing/2014/main" id="{C6A984DB-1BEE-410A-A6DF-7E08EF12599A}"/>
              </a:ext>
            </a:extLst>
          </p:cNvPr>
          <p:cNvSpPr/>
          <p:nvPr userDrawn="1"/>
        </p:nvSpPr>
        <p:spPr bwMode="auto">
          <a:xfrm rot="10800000">
            <a:off x="-1" y="0"/>
            <a:ext cx="12192000" cy="6857999"/>
          </a:xfrm>
          <a:prstGeom prst="rect">
            <a:avLst/>
          </a:prstGeom>
          <a:gradFill>
            <a:gsLst>
              <a:gs pos="26000">
                <a:schemeClr val="bg1"/>
              </a:gs>
              <a:gs pos="100000">
                <a:schemeClr val="bg1">
                  <a:alpha val="50000"/>
                </a:schemeClr>
              </a:gs>
            </a:gsLst>
            <a:lin ang="5400000" scaled="1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291726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AES Section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picture containing wheel&#10;&#10;Description automatically generated">
            <a:extLst>
              <a:ext uri="{FF2B5EF4-FFF2-40B4-BE49-F238E27FC236}">
                <a16:creationId xmlns:a16="http://schemas.microsoft.com/office/drawing/2014/main" id="{6D06CDE7-47E0-244C-8AA6-E3B37A29AB6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371439" y="2062714"/>
            <a:ext cx="11448102" cy="4124655"/>
          </a:xfrm>
        </p:spPr>
        <p:txBody>
          <a:bodyPr tIns="0"/>
          <a:lstStyle>
            <a:lvl1pPr marL="7700" marR="3080">
              <a:lnSpc>
                <a:spcPts val="5226"/>
              </a:lnSpc>
              <a:spcBef>
                <a:spcPts val="628"/>
              </a:spcBef>
              <a:defRPr sz="4729" kern="1200" spc="-6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</a:lstStyle>
          <a:p>
            <a:pPr marL="12700" marR="5080">
              <a:lnSpc>
                <a:spcPts val="8620"/>
              </a:lnSpc>
              <a:spcBef>
                <a:spcPts val="1035"/>
              </a:spcBef>
            </a:pPr>
            <a:r>
              <a:rPr lang="en-US" sz="4729">
                <a:latin typeface="Arial"/>
                <a:cs typeface="Arial"/>
              </a:rPr>
              <a:t>Overview statement</a:t>
            </a: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39" y="421415"/>
            <a:ext cx="10481466" cy="1460272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700" marR="3080">
              <a:lnSpc>
                <a:spcPct val="100000"/>
              </a:lnSpc>
              <a:spcBef>
                <a:spcPts val="69"/>
              </a:spcBef>
              <a:defRPr sz="9489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114"/>
              </a:spcBef>
            </a:pPr>
            <a:r>
              <a:rPr lang="en-US" kern="0"/>
              <a:t>Section Title</a:t>
            </a:r>
          </a:p>
        </p:txBody>
      </p:sp>
      <p:sp>
        <p:nvSpPr>
          <p:cNvPr id="23" name="object 7"/>
          <p:cNvSpPr/>
          <p:nvPr/>
        </p:nvSpPr>
        <p:spPr>
          <a:xfrm>
            <a:off x="11456251" y="6390566"/>
            <a:ext cx="36189" cy="0"/>
          </a:xfrm>
          <a:custGeom>
            <a:avLst/>
            <a:gdLst/>
            <a:ahLst/>
            <a:cxnLst/>
            <a:rect l="l" t="t" r="r" b="b"/>
            <a:pathLst>
              <a:path w="59690">
                <a:moveTo>
                  <a:pt x="59537" y="0"/>
                </a:moveTo>
                <a:lnTo>
                  <a:pt x="0" y="0"/>
                </a:lnTo>
                <a:lnTo>
                  <a:pt x="59537" y="0"/>
                </a:lnTo>
                <a:close/>
              </a:path>
            </a:pathLst>
          </a:custGeom>
          <a:solidFill>
            <a:srgbClr val="8471B3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24" name="object 8"/>
          <p:cNvSpPr/>
          <p:nvPr/>
        </p:nvSpPr>
        <p:spPr>
          <a:xfrm>
            <a:off x="11456251" y="6390566"/>
            <a:ext cx="36189" cy="0"/>
          </a:xfrm>
          <a:custGeom>
            <a:avLst/>
            <a:gdLst/>
            <a:ahLst/>
            <a:cxnLst/>
            <a:rect l="l" t="t" r="r" b="b"/>
            <a:pathLst>
              <a:path w="59690">
                <a:moveTo>
                  <a:pt x="59537" y="0"/>
                </a:moveTo>
                <a:lnTo>
                  <a:pt x="0" y="0"/>
                </a:lnTo>
                <a:lnTo>
                  <a:pt x="59537" y="0"/>
                </a:lnTo>
                <a:close/>
              </a:path>
            </a:pathLst>
          </a:custGeom>
          <a:solidFill>
            <a:srgbClr val="8471B3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2758F6-7CDC-ED49-B135-67289B7D241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2" name="Holder 6">
            <a:extLst>
              <a:ext uri="{FF2B5EF4-FFF2-40B4-BE49-F238E27FC236}">
                <a16:creationId xmlns:a16="http://schemas.microsoft.com/office/drawing/2014/main" id="{BA296ADF-0C87-FC4F-855E-11AE685E82F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91542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12" orient="horz" pos="2125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AES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39" y="576673"/>
            <a:ext cx="10481466" cy="727763"/>
          </a:xfrm>
          <a:prstGeom prst="rect">
            <a:avLst/>
          </a:prstGeom>
        </p:spPr>
        <p:txBody>
          <a:bodyPr wrap="square" lIns="0" tIns="0" rIns="0" bIns="0" anchor="t">
            <a:spAutoFit/>
          </a:bodyPr>
          <a:lstStyle>
            <a:lvl1pPr marL="7700" marR="3080">
              <a:lnSpc>
                <a:spcPct val="100000"/>
              </a:lnSpc>
              <a:spcBef>
                <a:spcPts val="69"/>
              </a:spcBef>
              <a:defRPr sz="4729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114"/>
              </a:spcBef>
            </a:pPr>
            <a:r>
              <a:rPr lang="en-US" kern="0" spc="-3"/>
              <a:t>Section</a:t>
            </a:r>
            <a:r>
              <a:rPr lang="en-US" kern="0" spc="-33"/>
              <a:t> </a:t>
            </a:r>
            <a:r>
              <a:rPr lang="en-US" kern="0"/>
              <a:t>titl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1439" y="1678462"/>
            <a:ext cx="11451644" cy="3886694"/>
          </a:xfrm>
        </p:spPr>
        <p:txBody>
          <a:bodyPr tIns="365760"/>
          <a:lstStyle>
            <a:lvl1pPr marL="5544" marR="0" indent="0" defTabSz="554401" eaLnBrk="1" fontAlgn="auto" latinLnBrk="0" hangingPunct="1">
              <a:lnSpc>
                <a:spcPts val="95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9489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 sz="9489">
                <a:latin typeface="Arial" charset="0"/>
                <a:ea typeface="Arial" charset="0"/>
                <a:cs typeface="Arial" charset="0"/>
              </a:defRPr>
            </a:lvl2pPr>
            <a:lvl3pPr>
              <a:defRPr sz="9489">
                <a:latin typeface="Arial" charset="0"/>
                <a:ea typeface="Arial" charset="0"/>
                <a:cs typeface="Arial" charset="0"/>
              </a:defRPr>
            </a:lvl3pPr>
            <a:lvl4pPr>
              <a:defRPr sz="9489">
                <a:latin typeface="Arial" charset="0"/>
                <a:ea typeface="Arial" charset="0"/>
                <a:cs typeface="Arial" charset="0"/>
              </a:defRPr>
            </a:lvl4pPr>
            <a:lvl5pPr>
              <a:defRPr sz="9489">
                <a:latin typeface="Arial" charset="0"/>
                <a:ea typeface="Arial" charset="0"/>
                <a:cs typeface="Arial" charset="0"/>
              </a:defRPr>
            </a:lvl5pPr>
          </a:lstStyle>
          <a:p>
            <a:pPr marL="0" marR="0" lvl="0" indent="0" defTabSz="554401" eaLnBrk="1" fontAlgn="auto" latinLnBrk="0" hangingPunct="1">
              <a:lnSpc>
                <a:spcPts val="9500"/>
              </a:lnSpc>
              <a:spcBef>
                <a:spcPts val="1958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489" spc="-24">
                <a:solidFill>
                  <a:srgbClr val="010202"/>
                </a:solidFill>
                <a:latin typeface="Arial"/>
                <a:cs typeface="Arial"/>
              </a:rPr>
              <a:t>Overview statement</a:t>
            </a:r>
            <a:endParaRPr lang="en-US" sz="9489">
              <a:latin typeface="Arial"/>
              <a:cs typeface="Arial"/>
            </a:endParaRPr>
          </a:p>
        </p:txBody>
      </p:sp>
      <p:pic>
        <p:nvPicPr>
          <p:cNvPr id="15" name="Picture 14" descr="A picture containing wheel&#10;&#10;Description automatically generated">
            <a:extLst>
              <a:ext uri="{FF2B5EF4-FFF2-40B4-BE49-F238E27FC236}">
                <a16:creationId xmlns:a16="http://schemas.microsoft.com/office/drawing/2014/main" id="{0FDCDEAA-5702-DA4A-B940-CFB90503E4F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B97702A-63B0-BD47-8A38-B17413BB265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40" y="1502676"/>
            <a:ext cx="11425926" cy="120496"/>
          </a:xfrm>
          <a:prstGeom prst="rect">
            <a:avLst/>
          </a:prstGeom>
        </p:spPr>
      </p:pic>
      <p:sp>
        <p:nvSpPr>
          <p:cNvPr id="9" name="Holder 6">
            <a:extLst>
              <a:ext uri="{FF2B5EF4-FFF2-40B4-BE49-F238E27FC236}">
                <a16:creationId xmlns:a16="http://schemas.microsoft.com/office/drawing/2014/main" id="{CD501E8A-F006-3A41-9AEF-F30A4223718A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49E90806-CF1D-1C44-A4E2-C638EF8186A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8271526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12" orient="horz" pos="1738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A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1439" y="425497"/>
            <a:ext cx="10481466" cy="5845280"/>
          </a:xfrm>
        </p:spPr>
        <p:txBody>
          <a:bodyPr tIns="411480">
            <a:normAutofit/>
          </a:bodyPr>
          <a:lstStyle>
            <a:lvl1pPr marL="7700" marR="3080" indent="1113036" defTabSz="554401" eaLnBrk="1" fontAlgn="auto" latinLnBrk="0" hangingPunct="1">
              <a:lnSpc>
                <a:spcPts val="9500"/>
              </a:lnSpc>
              <a:spcBef>
                <a:spcPts val="1958"/>
              </a:spcBef>
              <a:spcAft>
                <a:spcPts val="0"/>
              </a:spcAft>
              <a:buClrTx/>
              <a:buSzTx/>
              <a:buFontTx/>
              <a:buNone/>
              <a:tabLst/>
              <a:defRPr sz="9458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 sz="9489">
                <a:latin typeface="Arial" charset="0"/>
                <a:ea typeface="Arial" charset="0"/>
                <a:cs typeface="Arial" charset="0"/>
              </a:defRPr>
            </a:lvl2pPr>
            <a:lvl3pPr>
              <a:defRPr sz="9489">
                <a:latin typeface="Arial" charset="0"/>
                <a:ea typeface="Arial" charset="0"/>
                <a:cs typeface="Arial" charset="0"/>
              </a:defRPr>
            </a:lvl3pPr>
            <a:lvl4pPr>
              <a:defRPr sz="9489">
                <a:latin typeface="Arial" charset="0"/>
                <a:ea typeface="Arial" charset="0"/>
                <a:cs typeface="Arial" charset="0"/>
              </a:defRPr>
            </a:lvl4pPr>
            <a:lvl5pPr>
              <a:defRPr sz="9489">
                <a:latin typeface="Arial" charset="0"/>
                <a:ea typeface="Arial" charset="0"/>
                <a:cs typeface="Arial" charset="0"/>
              </a:defRPr>
            </a:lvl5pPr>
          </a:lstStyle>
          <a:p>
            <a:pPr marL="12700" marR="5080" indent="1835785">
              <a:lnSpc>
                <a:spcPts val="15669"/>
              </a:lnSpc>
              <a:spcBef>
                <a:spcPts val="3229"/>
              </a:spcBef>
            </a:pPr>
            <a:r>
              <a:rPr lang="en-US" sz="9489">
                <a:solidFill>
                  <a:srgbClr val="010202"/>
                </a:solidFill>
                <a:latin typeface="Arial"/>
                <a:cs typeface="Arial"/>
              </a:rPr>
              <a:t>Statement</a:t>
            </a:r>
            <a:endParaRPr lang="en-US" sz="9489">
              <a:latin typeface="Arial"/>
              <a:cs typeface="Arial"/>
            </a:endParaRPr>
          </a:p>
        </p:txBody>
      </p:sp>
      <p:sp>
        <p:nvSpPr>
          <p:cNvPr id="17" name="object 4"/>
          <p:cNvSpPr/>
          <p:nvPr/>
        </p:nvSpPr>
        <p:spPr>
          <a:xfrm>
            <a:off x="9406662" y="4617207"/>
            <a:ext cx="1277909" cy="642287"/>
          </a:xfrm>
          <a:prstGeom prst="rect">
            <a:avLst/>
          </a:prstGeom>
          <a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sz="1091"/>
          </a:p>
        </p:txBody>
      </p:sp>
      <p:pic>
        <p:nvPicPr>
          <p:cNvPr id="14" name="Picture 13" descr="A picture containing wheel&#10;&#10;Description automatically generated">
            <a:extLst>
              <a:ext uri="{FF2B5EF4-FFF2-40B4-BE49-F238E27FC236}">
                <a16:creationId xmlns:a16="http://schemas.microsoft.com/office/drawing/2014/main" id="{4F60CC4A-3204-0A4F-88C9-7347EA77FE1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pic>
        <p:nvPicPr>
          <p:cNvPr id="12" name="Picture 11" descr="A picture containing drawing&#10;&#10;Description automatically generated">
            <a:extLst>
              <a:ext uri="{FF2B5EF4-FFF2-40B4-BE49-F238E27FC236}">
                <a16:creationId xmlns:a16="http://schemas.microsoft.com/office/drawing/2014/main" id="{E9DD4A45-1A06-F546-993C-EF0BD6378E4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5742" y="765279"/>
            <a:ext cx="738791" cy="876099"/>
          </a:xfrm>
          <a:prstGeom prst="rect">
            <a:avLst/>
          </a:prstGeom>
        </p:spPr>
      </p:pic>
      <p:sp>
        <p:nvSpPr>
          <p:cNvPr id="9" name="Holder 6">
            <a:extLst>
              <a:ext uri="{FF2B5EF4-FFF2-40B4-BE49-F238E27FC236}">
                <a16:creationId xmlns:a16="http://schemas.microsoft.com/office/drawing/2014/main" id="{34FE868D-0380-B540-BB8F-223B6C8B6CA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1001D29-735C-FF4A-963A-07A38CAB1F5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114107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AES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371439" y="425497"/>
            <a:ext cx="10481466" cy="5135600"/>
          </a:xfrm>
        </p:spPr>
        <p:txBody>
          <a:bodyPr tIns="411480">
            <a:normAutofit/>
          </a:bodyPr>
          <a:lstStyle>
            <a:lvl1pPr marL="7700" marR="3080" indent="0" defTabSz="554401" eaLnBrk="1" fontAlgn="auto" latinLnBrk="0" hangingPunct="1">
              <a:lnSpc>
                <a:spcPts val="9500"/>
              </a:lnSpc>
              <a:spcBef>
                <a:spcPts val="1958"/>
              </a:spcBef>
              <a:spcAft>
                <a:spcPts val="0"/>
              </a:spcAft>
              <a:buClrTx/>
              <a:buSzTx/>
              <a:buFontTx/>
              <a:buNone/>
              <a:tabLst/>
              <a:defRPr sz="9458" kern="1200" spc="-6" baseline="0">
                <a:solidFill>
                  <a:schemeClr val="tx1"/>
                </a:solidFill>
                <a:latin typeface="Arial" charset="0"/>
                <a:ea typeface="Arial" charset="0"/>
                <a:cs typeface="Arial" charset="0"/>
              </a:defRPr>
            </a:lvl1pPr>
            <a:lvl2pPr>
              <a:defRPr sz="9489">
                <a:latin typeface="Arial" charset="0"/>
                <a:ea typeface="Arial" charset="0"/>
                <a:cs typeface="Arial" charset="0"/>
              </a:defRPr>
            </a:lvl2pPr>
            <a:lvl3pPr>
              <a:defRPr sz="9489">
                <a:latin typeface="Arial" charset="0"/>
                <a:ea typeface="Arial" charset="0"/>
                <a:cs typeface="Arial" charset="0"/>
              </a:defRPr>
            </a:lvl3pPr>
            <a:lvl4pPr>
              <a:defRPr sz="9489">
                <a:latin typeface="Arial" charset="0"/>
                <a:ea typeface="Arial" charset="0"/>
                <a:cs typeface="Arial" charset="0"/>
              </a:defRPr>
            </a:lvl4pPr>
            <a:lvl5pPr>
              <a:defRPr sz="9489">
                <a:latin typeface="Arial" charset="0"/>
                <a:ea typeface="Arial" charset="0"/>
                <a:cs typeface="Arial" charset="0"/>
              </a:defRPr>
            </a:lvl5pPr>
          </a:lstStyle>
          <a:p>
            <a:pPr marL="12700" marR="5080">
              <a:lnSpc>
                <a:spcPts val="15669"/>
              </a:lnSpc>
              <a:spcBef>
                <a:spcPts val="3229"/>
              </a:spcBef>
            </a:pPr>
            <a:r>
              <a:rPr lang="en-US" sz="9489">
                <a:latin typeface="Arial"/>
                <a:cs typeface="Arial"/>
              </a:rPr>
              <a:t>Statement</a:t>
            </a:r>
          </a:p>
          <a:p>
            <a:pPr marL="12700" marR="5080">
              <a:lnSpc>
                <a:spcPts val="15669"/>
              </a:lnSpc>
              <a:spcBef>
                <a:spcPts val="3229"/>
              </a:spcBef>
            </a:pPr>
            <a:endParaRPr lang="en-US" sz="9489">
              <a:latin typeface="Arial"/>
              <a:cs typeface="Arial"/>
            </a:endParaRPr>
          </a:p>
          <a:p>
            <a:pPr marL="12700" marR="5080">
              <a:lnSpc>
                <a:spcPts val="15669"/>
              </a:lnSpc>
              <a:spcBef>
                <a:spcPts val="3229"/>
              </a:spcBef>
            </a:pPr>
            <a:endParaRPr lang="en-US" sz="9489">
              <a:latin typeface="Arial"/>
              <a:cs typeface="Arial"/>
            </a:endParaRPr>
          </a:p>
        </p:txBody>
      </p:sp>
      <p:pic>
        <p:nvPicPr>
          <p:cNvPr id="12" name="Picture 11" descr="A picture containing wheel&#10;&#10;Description automatically generated">
            <a:extLst>
              <a:ext uri="{FF2B5EF4-FFF2-40B4-BE49-F238E27FC236}">
                <a16:creationId xmlns:a16="http://schemas.microsoft.com/office/drawing/2014/main" id="{64E6C3E9-4207-9249-B0F7-90978B29CE2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8" name="Holder 6">
            <a:extLst>
              <a:ext uri="{FF2B5EF4-FFF2-40B4-BE49-F238E27FC236}">
                <a16:creationId xmlns:a16="http://schemas.microsoft.com/office/drawing/2014/main" id="{C758FB5D-0EF0-7A41-882B-E8017C9071C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F0BB4385-9AF5-6142-985D-5B8685801A8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9009596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11" pos="11276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ES Thank You">
    <p:bg>
      <p:bgPr>
        <a:solidFill>
          <a:srgbClr val="F5F5F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39" y="426960"/>
            <a:ext cx="10481466" cy="1473930"/>
          </a:xfrm>
          <a:prstGeom prst="rect">
            <a:avLst/>
          </a:prstGeom>
        </p:spPr>
        <p:txBody>
          <a:bodyPr wrap="square" lIns="0" tIns="18288" rIns="0" bIns="0" anchor="t">
            <a:spAutoFit/>
          </a:bodyPr>
          <a:lstStyle>
            <a:lvl1pPr marL="7700" marR="3080">
              <a:lnSpc>
                <a:spcPct val="100000"/>
              </a:lnSpc>
              <a:spcBef>
                <a:spcPts val="69"/>
              </a:spcBef>
              <a:defRPr sz="9458" b="0" i="0" kern="1200" spc="24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>
              <a:spcBef>
                <a:spcPts val="114"/>
              </a:spcBef>
            </a:pPr>
            <a:r>
              <a:rPr lang="en-US" kern="0" spc="-3"/>
              <a:t>Thank you.</a:t>
            </a:r>
            <a:endParaRPr lang="en-US" kern="0"/>
          </a:p>
        </p:txBody>
      </p:sp>
      <p:pic>
        <p:nvPicPr>
          <p:cNvPr id="12" name="Picture 11" descr="A picture containing wheel&#10;&#10;Description automatically generated">
            <a:extLst>
              <a:ext uri="{FF2B5EF4-FFF2-40B4-BE49-F238E27FC236}">
                <a16:creationId xmlns:a16="http://schemas.microsoft.com/office/drawing/2014/main" id="{C8D6DC13-9230-FA47-A8EE-8E45528B933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8" name="Holder 6">
            <a:extLst>
              <a:ext uri="{FF2B5EF4-FFF2-40B4-BE49-F238E27FC236}">
                <a16:creationId xmlns:a16="http://schemas.microsoft.com/office/drawing/2014/main" id="{A34F3BBE-0388-8142-88D9-F9D87E2EDD02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CD9889C-15D4-5E44-AAB7-FBA8FA19168D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68737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AES Internal [Agenda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1950352"/>
            <a:ext cx="3690219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Agenda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C1BE46A8-5E78-D540-B7A4-A3ABB3FA147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1385658-B7C9-D440-949B-D94D13F175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739196"/>
            <a:ext cx="3690219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Holder 6">
            <a:extLst>
              <a:ext uri="{FF2B5EF4-FFF2-40B4-BE49-F238E27FC236}">
                <a16:creationId xmlns:a16="http://schemas.microsoft.com/office/drawing/2014/main" id="{097D15B3-42A8-6D4C-ABF7-5CA7BA9BCAE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59DAEC1-F79B-5447-9B9D-9E08CD7E64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C23C8094-582E-9C46-97B7-FD2260AABBB4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5216633" y="2735883"/>
            <a:ext cx="3690219" cy="3539707"/>
          </a:xfrm>
        </p:spPr>
        <p:txBody>
          <a:bodyPr/>
          <a:lstStyle>
            <a:lvl1pPr>
              <a:lnSpc>
                <a:spcPts val="2365"/>
              </a:lnSpc>
              <a:spcBef>
                <a:spcPts val="485"/>
              </a:spcBef>
              <a:spcAft>
                <a:spcPts val="485"/>
              </a:spcAft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21760" indent="-332640">
              <a:lnSpc>
                <a:spcPts val="2365"/>
              </a:lnSpc>
              <a:spcBef>
                <a:spcPts val="485"/>
              </a:spcBef>
              <a:spcAft>
                <a:spcPts val="485"/>
              </a:spcAft>
              <a:buFont typeface="+mj-lt"/>
              <a:buAutoNum type="arabicPeriod"/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7200" indent="-277200">
              <a:spcAft>
                <a:spcPts val="485"/>
              </a:spcAft>
              <a:buFont typeface="System Font Regular"/>
              <a:buChar char="→"/>
              <a:defRPr sz="1455"/>
            </a:lvl4pPr>
            <a:lvl5pPr marL="0">
              <a:spcAft>
                <a:spcPts val="485"/>
              </a:spcAft>
              <a:defRPr sz="1455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53336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519">
          <p15:clr>
            <a:srgbClr val="FBAE40"/>
          </p15:clr>
        </p15:guide>
        <p15:guide id="12" orient="horz" pos="2026">
          <p15:clr>
            <a:srgbClr val="FBAE40"/>
          </p15:clr>
        </p15:guide>
        <p15:guide id="13" orient="horz" pos="2842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7" orient="horz" pos="643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FFB57AF-F198-8649-8163-E57B45CDF9CF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216632" y="381214"/>
            <a:ext cx="6972193" cy="554300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15" name="Picture 14" descr="A picture containing wheel&#10;&#10;Description automatically generated">
            <a:extLst>
              <a:ext uri="{FF2B5EF4-FFF2-40B4-BE49-F238E27FC236}">
                <a16:creationId xmlns:a16="http://schemas.microsoft.com/office/drawing/2014/main" id="{893DFAB9-DC3C-F749-AB19-2C8D1522CC0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9" name="Title 4">
            <a:extLst>
              <a:ext uri="{FF2B5EF4-FFF2-40B4-BE49-F238E27FC236}">
                <a16:creationId xmlns:a16="http://schemas.microsoft.com/office/drawing/2014/main" id="{F57EE5C5-7F1A-BA4B-A336-879F28A7048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1439" y="975908"/>
            <a:ext cx="3690219" cy="1026498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spcBef>
                <a:spcPts val="858"/>
              </a:spcBef>
              <a:defRPr sz="4244" kern="1200" spc="-6" baseline="0"/>
            </a:lvl1pPr>
          </a:lstStyle>
          <a:p>
            <a:r>
              <a:rPr lang="en-US"/>
              <a:t>Page 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EDCA175-78DC-024C-B777-F738F319FFE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237225"/>
            <a:ext cx="3680647" cy="365811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Holder 6">
            <a:extLst>
              <a:ext uri="{FF2B5EF4-FFF2-40B4-BE49-F238E27FC236}">
                <a16:creationId xmlns:a16="http://schemas.microsoft.com/office/drawing/2014/main" id="{68105A6C-8942-264B-A101-3CC7EE365C4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A1F28457-D9B6-0447-87CB-810932507F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2622911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4">
          <p15:clr>
            <a:srgbClr val="FBAE40"/>
          </p15:clr>
        </p15:guide>
        <p15:guide id="12" orient="horz" pos="6154">
          <p15:clr>
            <a:srgbClr val="FBAE40"/>
          </p15:clr>
        </p15:guide>
        <p15:guide id="13" orient="horz" pos="2314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D95D7368-0A17-1B47-8586-4BA40EA7B475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168230" y="381214"/>
            <a:ext cx="5031065" cy="551412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38" name="object 2"/>
          <p:cNvSpPr/>
          <p:nvPr/>
        </p:nvSpPr>
        <p:spPr>
          <a:xfrm>
            <a:off x="0" y="4191428"/>
            <a:ext cx="12188825" cy="2666957"/>
          </a:xfrm>
          <a:custGeom>
            <a:avLst/>
            <a:gdLst/>
            <a:ahLst/>
            <a:cxnLst/>
            <a:rect l="l" t="t" r="r" b="b"/>
            <a:pathLst>
              <a:path w="20104100" h="4398009">
                <a:moveTo>
                  <a:pt x="0" y="4397771"/>
                </a:moveTo>
                <a:lnTo>
                  <a:pt x="20104099" y="4397771"/>
                </a:lnTo>
                <a:lnTo>
                  <a:pt x="20104099" y="0"/>
                </a:lnTo>
                <a:lnTo>
                  <a:pt x="0" y="0"/>
                </a:lnTo>
                <a:lnTo>
                  <a:pt x="0" y="4397771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36" name="Text Placeholder 9"/>
          <p:cNvSpPr>
            <a:spLocks noGrp="1"/>
          </p:cNvSpPr>
          <p:nvPr>
            <p:ph type="body" sz="quarter" idx="17" hasCustomPrompt="1"/>
          </p:nvPr>
        </p:nvSpPr>
        <p:spPr>
          <a:xfrm>
            <a:off x="4251730" y="5506116"/>
            <a:ext cx="1750284" cy="615899"/>
          </a:xfrm>
        </p:spPr>
        <p:txBody>
          <a:bodyPr>
            <a:noAutofit/>
          </a:bodyPr>
          <a:lstStyle>
            <a:lvl1pPr>
              <a:defRPr sz="1455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Column three</a:t>
            </a:r>
          </a:p>
        </p:txBody>
      </p:sp>
      <p:sp>
        <p:nvSpPr>
          <p:cNvPr id="35" name="Text Placeholder 9"/>
          <p:cNvSpPr>
            <a:spLocks noGrp="1"/>
          </p:cNvSpPr>
          <p:nvPr>
            <p:ph type="body" sz="quarter" idx="16" hasCustomPrompt="1"/>
          </p:nvPr>
        </p:nvSpPr>
        <p:spPr>
          <a:xfrm>
            <a:off x="2317340" y="5508349"/>
            <a:ext cx="1750283" cy="615899"/>
          </a:xfrm>
        </p:spPr>
        <p:txBody>
          <a:bodyPr>
            <a:noAutofit/>
          </a:bodyPr>
          <a:lstStyle>
            <a:lvl1pPr>
              <a:defRPr sz="1455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Column two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4" hasCustomPrompt="1"/>
          </p:nvPr>
        </p:nvSpPr>
        <p:spPr>
          <a:xfrm>
            <a:off x="371440" y="4646651"/>
            <a:ext cx="2724474" cy="615899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3201" y="975908"/>
            <a:ext cx="5628812" cy="513249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spcBef>
                <a:spcPts val="858"/>
              </a:spcBef>
              <a:defRPr sz="4244" kern="1200" spc="-6" baseline="0"/>
            </a:lvl1pPr>
          </a:lstStyle>
          <a:p>
            <a:r>
              <a:rPr lang="en-US"/>
              <a:t>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181953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40" y="1597510"/>
            <a:ext cx="2724474" cy="2348120"/>
          </a:xfrm>
        </p:spPr>
        <p:txBody>
          <a:bodyPr tIns="182880">
            <a:noAutofit/>
          </a:bodyPr>
          <a:lstStyle>
            <a:lvl1pPr>
              <a:lnSpc>
                <a:spcPts val="2365"/>
              </a:lnSpc>
              <a:spcBef>
                <a:spcPts val="0"/>
              </a:spcBef>
              <a:spcAft>
                <a:spcPts val="1091"/>
              </a:spcAft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Column one</a:t>
            </a:r>
          </a:p>
        </p:txBody>
      </p:sp>
      <p:sp>
        <p:nvSpPr>
          <p:cNvPr id="26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3277541" y="1597510"/>
            <a:ext cx="2724474" cy="2348120"/>
          </a:xfrm>
        </p:spPr>
        <p:txBody>
          <a:bodyPr tIns="182880">
            <a:noAutofit/>
          </a:bodyPr>
          <a:lstStyle>
            <a:lvl1pPr>
              <a:lnSpc>
                <a:spcPts val="2365"/>
              </a:lnSpc>
              <a:spcBef>
                <a:spcPts val="0"/>
              </a:spcBef>
              <a:spcAft>
                <a:spcPts val="1091"/>
              </a:spcAft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Column two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71439" y="5502702"/>
            <a:ext cx="1749863" cy="615899"/>
          </a:xfrm>
        </p:spPr>
        <p:txBody>
          <a:bodyPr>
            <a:noAutofit/>
          </a:bodyPr>
          <a:lstStyle>
            <a:lvl1pPr>
              <a:defRPr sz="1455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Column on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75C7DE60-CC46-8D47-A06A-2B17A0419C0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16" name="Holder 6">
            <a:extLst>
              <a:ext uri="{FF2B5EF4-FFF2-40B4-BE49-F238E27FC236}">
                <a16:creationId xmlns:a16="http://schemas.microsoft.com/office/drawing/2014/main" id="{9EA350B0-E587-5F4D-8F8F-31EF6CA405CB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89D22C19-5712-F940-AFBD-5A6CCAB10E5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2427182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4">
          <p15:clr>
            <a:srgbClr val="FBAE40"/>
          </p15:clr>
        </p15:guide>
        <p15:guide id="10" pos="7436">
          <p15:clr>
            <a:srgbClr val="FBAE40"/>
          </p15:clr>
        </p15:guide>
        <p15:guide id="11" pos="11276">
          <p15:clr>
            <a:srgbClr val="FBAE40"/>
          </p15:clr>
        </p15:guide>
        <p15:guide id="12" orient="horz" pos="1642">
          <p15:clr>
            <a:srgbClr val="FBAE40"/>
          </p15:clr>
        </p15:guide>
        <p15:guide id="13" orient="horz" pos="6124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6" orient="horz" pos="298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DC0AB3C0-200B-4B4B-B0F1-ABA44ADFE0AA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186964" y="3720648"/>
            <a:ext cx="4651311" cy="2389865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3">
            <a:extLst>
              <a:ext uri="{FF2B5EF4-FFF2-40B4-BE49-F238E27FC236}">
                <a16:creationId xmlns:a16="http://schemas.microsoft.com/office/drawing/2014/main" id="{ABE7DE52-1254-6249-ABAD-E525EA4DFF99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093482" y="3726193"/>
            <a:ext cx="1936246" cy="182428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7EBCB3D6-4D60-F14F-A0AF-3114855D243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4252152" y="1968450"/>
            <a:ext cx="1934812" cy="164684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50E2EB56-7CED-7348-A58E-88E7CF5EF7B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937093"/>
            <a:ext cx="3094368" cy="2678202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7162686" y="937093"/>
            <a:ext cx="3692221" cy="895853"/>
          </a:xfrm>
        </p:spPr>
        <p:txBody>
          <a:bodyPr tIns="64008">
            <a:noAutofit/>
          </a:bodyPr>
          <a:lstStyle>
            <a:lvl1pPr>
              <a:lnSpc>
                <a:spcPct val="100000"/>
              </a:lnSpc>
              <a:spcBef>
                <a:spcPts val="298"/>
              </a:spcBef>
              <a:defRPr sz="2122" kern="1200" spc="-6" baseline="0"/>
            </a:lvl1pPr>
          </a:lstStyle>
          <a:p>
            <a:r>
              <a:rPr lang="en-US"/>
              <a:t>Two line </a:t>
            </a:r>
            <a:br>
              <a:rPr lang="en-US"/>
            </a:br>
            <a:r>
              <a:rPr lang="en-US"/>
              <a:t>page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181953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5" hasCustomPrompt="1"/>
          </p:nvPr>
        </p:nvSpPr>
        <p:spPr>
          <a:xfrm>
            <a:off x="371439" y="4585656"/>
            <a:ext cx="1746321" cy="931548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1455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Image caption and/or tertiary information</a:t>
            </a:r>
          </a:p>
        </p:txBody>
      </p:sp>
      <p:pic>
        <p:nvPicPr>
          <p:cNvPr id="35" name="Picture 34" descr="A picture containing wheel&#10;&#10;Description automatically generated">
            <a:extLst>
              <a:ext uri="{FF2B5EF4-FFF2-40B4-BE49-F238E27FC236}">
                <a16:creationId xmlns:a16="http://schemas.microsoft.com/office/drawing/2014/main" id="{1139A26F-B067-D84F-A4E0-49B6F789055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197B536-B691-7446-9D91-744D726F3EB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40" y="3609750"/>
            <a:ext cx="11425926" cy="120496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AE93359D-A64B-0D4B-B53C-424638ED95C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162686" y="2095715"/>
            <a:ext cx="3692221" cy="895853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Holder 6">
            <a:extLst>
              <a:ext uri="{FF2B5EF4-FFF2-40B4-BE49-F238E27FC236}">
                <a16:creationId xmlns:a16="http://schemas.microsoft.com/office/drawing/2014/main" id="{3B0BEF5E-2804-4342-9630-9585A1E7994F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8DAE40B-6A7E-4042-9CBF-AA75ECF5588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2201619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4">
          <p15:clr>
            <a:srgbClr val="FBAE40"/>
          </p15:clr>
        </p15:guide>
        <p15:guide id="13" orient="horz" pos="2177">
          <p15:clr>
            <a:srgbClr val="FBAE40"/>
          </p15:clr>
        </p15:guide>
        <p15:guide id="14" orient="horz" pos="970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>
            <a:extLst>
              <a:ext uri="{FF2B5EF4-FFF2-40B4-BE49-F238E27FC236}">
                <a16:creationId xmlns:a16="http://schemas.microsoft.com/office/drawing/2014/main" id="{C1FF589E-7E61-B747-A809-3BF6FE1AD92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39" y="931548"/>
            <a:ext cx="11451644" cy="120767"/>
          </a:xfrm>
          <a:prstGeom prst="rect">
            <a:avLst/>
          </a:prstGeom>
        </p:spPr>
      </p:pic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41FC26BD-B34C-064A-95F7-17557B653C1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71440" y="1230974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181953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26" name="Picture 25" descr="A picture containing wheel&#10;&#10;Description automatically generated">
            <a:extLst>
              <a:ext uri="{FF2B5EF4-FFF2-40B4-BE49-F238E27FC236}">
                <a16:creationId xmlns:a16="http://schemas.microsoft.com/office/drawing/2014/main" id="{33A47EFD-824B-AA4A-9E96-1787953BB3F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46C1DB38-126E-C546-A53C-0B564AED3AC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54924" y="1230974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4">
            <a:extLst>
              <a:ext uri="{FF2B5EF4-FFF2-40B4-BE49-F238E27FC236}">
                <a16:creationId xmlns:a16="http://schemas.microsoft.com/office/drawing/2014/main" id="{6E03029A-3CB6-BD47-89E5-172273E6D19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38409" y="1230974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3" name="Picture Placeholder 4">
            <a:extLst>
              <a:ext uri="{FF2B5EF4-FFF2-40B4-BE49-F238E27FC236}">
                <a16:creationId xmlns:a16="http://schemas.microsoft.com/office/drawing/2014/main" id="{8425C69D-1918-D549-9100-570B7AB92AE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71440" y="3670743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9497CC5A-7566-1C48-B5D5-683A9DEF7B4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54924" y="3670743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68E12BCF-FF9A-7546-953A-CDD97377D8B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138409" y="3670743"/>
            <a:ext cx="3682442" cy="2234607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23EB5216-7CF5-AC4C-A29A-EEB163E428FB}"/>
              </a:ext>
            </a:extLst>
          </p:cNvPr>
          <p:cNvGrpSpPr/>
          <p:nvPr/>
        </p:nvGrpSpPr>
        <p:grpSpPr>
          <a:xfrm>
            <a:off x="4053882" y="887574"/>
            <a:ext cx="4077135" cy="199647"/>
            <a:chOff x="6686423" y="1463675"/>
            <a:chExt cx="6724777" cy="329233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0F0919B2-E0D4-C244-A945-9728349D1673}"/>
                </a:ext>
              </a:extLst>
            </p:cNvPr>
            <p:cNvSpPr/>
            <p:nvPr/>
          </p:nvSpPr>
          <p:spPr>
            <a:xfrm>
              <a:off x="13085763" y="1463675"/>
              <a:ext cx="325437" cy="3047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91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2BD08769-5B71-F64F-BC54-9D2BF8212A8C}"/>
                </a:ext>
              </a:extLst>
            </p:cNvPr>
            <p:cNvSpPr/>
            <p:nvPr/>
          </p:nvSpPr>
          <p:spPr>
            <a:xfrm>
              <a:off x="6686423" y="1488109"/>
              <a:ext cx="325437" cy="304799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91"/>
            </a:p>
          </p:txBody>
        </p:sp>
      </p:grpSp>
      <p:sp>
        <p:nvSpPr>
          <p:cNvPr id="17" name="Holder 6">
            <a:extLst>
              <a:ext uri="{FF2B5EF4-FFF2-40B4-BE49-F238E27FC236}">
                <a16:creationId xmlns:a16="http://schemas.microsoft.com/office/drawing/2014/main" id="{273E81E8-10A1-4E4E-AA42-786546C9CB9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247CA37A-0B71-1946-9121-C831D8C9814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7434083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139">
          <p15:clr>
            <a:srgbClr val="FBAE40"/>
          </p15:clr>
        </p15:guide>
        <p15:guide id="12" orient="horz" pos="1271">
          <p15:clr>
            <a:srgbClr val="FBAE40"/>
          </p15:clr>
        </p15:guide>
        <p15:guide id="13" orient="horz" pos="3802">
          <p15:clr>
            <a:srgbClr val="FBAE40"/>
          </p15:clr>
        </p15:guide>
        <p15:guide id="14" orient="horz" pos="1085">
          <p15:clr>
            <a:srgbClr val="FBAE40"/>
          </p15:clr>
        </p15:guide>
        <p15:guide id="15" orient="horz" pos="6514">
          <p15:clr>
            <a:srgbClr val="FBAE40"/>
          </p15:clr>
        </p15:guide>
        <p15:guide id="16" orient="horz" pos="3600">
          <p15:clr>
            <a:srgbClr val="FBAE40"/>
          </p15:clr>
        </p15:guide>
        <p15:guide id="17" orient="horz" pos="643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30C9ABC-8171-4A3F-8DBA-089597E8CE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30C9ABC-8171-4A3F-8DBA-089597E8CE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Imagen 2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 bwMode="auto">
          <a:xfrm>
            <a:off x="0" y="3462376"/>
            <a:ext cx="12191999" cy="3397802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540000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  <p:sp>
        <p:nvSpPr>
          <p:cNvPr id="2" name="Rectángulo 1"/>
          <p:cNvSpPr/>
          <p:nvPr/>
        </p:nvSpPr>
        <p:spPr bwMode="auto">
          <a:xfrm>
            <a:off x="-1" y="0"/>
            <a:ext cx="12192000" cy="6857999"/>
          </a:xfrm>
          <a:prstGeom prst="rect">
            <a:avLst/>
          </a:prstGeom>
          <a:gradFill>
            <a:gsLst>
              <a:gs pos="0">
                <a:schemeClr val="bg1"/>
              </a:gs>
              <a:gs pos="100000">
                <a:schemeClr val="bg1">
                  <a:alpha val="60000"/>
                </a:schemeClr>
              </a:gs>
            </a:gsLst>
            <a:lin ang="5400000" scaled="1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  <p:pic>
        <p:nvPicPr>
          <p:cNvPr id="5" name="Imagen 2">
            <a:extLst>
              <a:ext uri="{FF2B5EF4-FFF2-40B4-BE49-F238E27FC236}">
                <a16:creationId xmlns:a16="http://schemas.microsoft.com/office/drawing/2014/main" id="{AAB77865-8984-4158-86D1-BD509F94A5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34185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tángulo 3">
            <a:extLst>
              <a:ext uri="{FF2B5EF4-FFF2-40B4-BE49-F238E27FC236}">
                <a16:creationId xmlns:a16="http://schemas.microsoft.com/office/drawing/2014/main" id="{3C8B894E-9B3B-45FF-B274-3EB4018A1DE8}"/>
              </a:ext>
            </a:extLst>
          </p:cNvPr>
          <p:cNvSpPr/>
          <p:nvPr userDrawn="1"/>
        </p:nvSpPr>
        <p:spPr bwMode="auto">
          <a:xfrm>
            <a:off x="0" y="3462376"/>
            <a:ext cx="12191999" cy="3397802"/>
          </a:xfrm>
          <a:prstGeom prst="rect">
            <a:avLst/>
          </a:prstGeom>
          <a:gradFill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50000"/>
                </a:schemeClr>
              </a:gs>
            </a:gsLst>
            <a:lin ang="5400000" scaled="0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  <p:sp>
        <p:nvSpPr>
          <p:cNvPr id="7" name="Rectángulo 1">
            <a:extLst>
              <a:ext uri="{FF2B5EF4-FFF2-40B4-BE49-F238E27FC236}">
                <a16:creationId xmlns:a16="http://schemas.microsoft.com/office/drawing/2014/main" id="{EF6A7259-03B0-4CD4-8E4E-8FA6AA6B1C50}"/>
              </a:ext>
            </a:extLst>
          </p:cNvPr>
          <p:cNvSpPr/>
          <p:nvPr userDrawn="1"/>
        </p:nvSpPr>
        <p:spPr bwMode="auto">
          <a:xfrm rot="10800000">
            <a:off x="-1" y="0"/>
            <a:ext cx="12192000" cy="6857998"/>
          </a:xfrm>
          <a:prstGeom prst="rect">
            <a:avLst/>
          </a:prstGeom>
          <a:gradFill>
            <a:gsLst>
              <a:gs pos="35000">
                <a:schemeClr val="bg1"/>
              </a:gs>
              <a:gs pos="100000">
                <a:schemeClr val="bg1">
                  <a:alpha val="50000"/>
                </a:schemeClr>
              </a:gs>
            </a:gsLst>
            <a:lin ang="5400000" scaled="1"/>
          </a:gra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8047294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181953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14" name="Picture 13" descr="A picture containing wheel&#10;&#10;Description automatically generated">
            <a:extLst>
              <a:ext uri="{FF2B5EF4-FFF2-40B4-BE49-F238E27FC236}">
                <a16:creationId xmlns:a16="http://schemas.microsoft.com/office/drawing/2014/main" id="{2AC7F684-2439-AD47-A936-BAEC54FFB61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11DF996A-4428-A844-ADA2-56775069BED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553470" y="618992"/>
            <a:ext cx="5984059" cy="598519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9" name="Holder 6">
            <a:extLst>
              <a:ext uri="{FF2B5EF4-FFF2-40B4-BE49-F238E27FC236}">
                <a16:creationId xmlns:a16="http://schemas.microsoft.com/office/drawing/2014/main" id="{6AB7BBD9-9766-3146-8122-C9C6E3F7A5B1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FF3E4F-7019-B342-BF26-AF5C2C11FDA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16A64FD4-81E8-DA47-A7DC-84CECB12660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73201" y="975908"/>
            <a:ext cx="5628812" cy="513249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spcBef>
                <a:spcPts val="858"/>
              </a:spcBef>
              <a:defRPr sz="4244" kern="1200" spc="-6" baseline="0"/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503808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 AES Internal [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2">
            <a:extLst>
              <a:ext uri="{FF2B5EF4-FFF2-40B4-BE49-F238E27FC236}">
                <a16:creationId xmlns:a16="http://schemas.microsoft.com/office/drawing/2014/main" id="{791688A6-CF45-7449-9CB2-A24896AFBAC5}"/>
              </a:ext>
            </a:extLst>
          </p:cNvPr>
          <p:cNvSpPr/>
          <p:nvPr/>
        </p:nvSpPr>
        <p:spPr>
          <a:xfrm>
            <a:off x="5223142" y="385"/>
            <a:ext cx="6966033" cy="6857615"/>
          </a:xfrm>
          <a:custGeom>
            <a:avLst/>
            <a:gdLst/>
            <a:ahLst/>
            <a:cxnLst/>
            <a:rect l="l" t="t" r="r" b="b"/>
            <a:pathLst>
              <a:path w="11489690" h="11308715">
                <a:moveTo>
                  <a:pt x="0" y="11308556"/>
                </a:moveTo>
                <a:lnTo>
                  <a:pt x="11489178" y="11308556"/>
                </a:lnTo>
                <a:lnTo>
                  <a:pt x="11489178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3201" y="975908"/>
            <a:ext cx="3688457" cy="1026498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spcBef>
                <a:spcPts val="0"/>
              </a:spcBef>
              <a:defRPr sz="4244" kern="1200" spc="-6" baseline="0"/>
            </a:lvl1pPr>
          </a:lstStyle>
          <a:p>
            <a:r>
              <a:rPr lang="en-US"/>
              <a:t>Pag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88379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Section 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3551FB62-DBA4-F947-B9F2-3141E9F1047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84CD10-14F1-4C4A-B3C8-DAA6EA25BA1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71439" y="2225673"/>
            <a:ext cx="3695917" cy="4049917"/>
          </a:xfrm>
        </p:spPr>
        <p:txBody>
          <a:bodyPr/>
          <a:lstStyle>
            <a:lvl1pPr>
              <a:lnSpc>
                <a:spcPts val="2365"/>
              </a:lnSpc>
              <a:spcBef>
                <a:spcPts val="485"/>
              </a:spcBef>
              <a:spcAft>
                <a:spcPts val="485"/>
              </a:spcAft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lnSpc>
                <a:spcPts val="2365"/>
              </a:lnSpc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7200" indent="-277200">
              <a:spcAft>
                <a:spcPts val="485"/>
              </a:spcAft>
              <a:buFont typeface="System Font Regular"/>
              <a:buChar char="→"/>
              <a:defRPr sz="1455"/>
            </a:lvl4pPr>
            <a:lvl5pPr marL="0">
              <a:spcAft>
                <a:spcPts val="485"/>
              </a:spcAft>
              <a:defRPr sz="1455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3E2E6038-721A-CE45-850C-F99F94440DD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6194510" y="989616"/>
            <a:ext cx="4658395" cy="4380109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Holder 6">
            <a:extLst>
              <a:ext uri="{FF2B5EF4-FFF2-40B4-BE49-F238E27FC236}">
                <a16:creationId xmlns:a16="http://schemas.microsoft.com/office/drawing/2014/main" id="{CEE9BD36-3C6B-FA47-93F9-9F7D70B7DC15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0821BEA-DDFB-B648-A500-7B808FD005D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91824035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12" orient="horz" pos="6519">
          <p15:clr>
            <a:srgbClr val="FBAE40"/>
          </p15:clr>
        </p15:guide>
        <p15:guide id="13" orient="horz" pos="2314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 AES Internal [2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2">
            <a:extLst>
              <a:ext uri="{FF2B5EF4-FFF2-40B4-BE49-F238E27FC236}">
                <a16:creationId xmlns:a16="http://schemas.microsoft.com/office/drawing/2014/main" id="{791688A6-CF45-7449-9CB2-A24896AFBAC5}"/>
              </a:ext>
            </a:extLst>
          </p:cNvPr>
          <p:cNvSpPr/>
          <p:nvPr/>
        </p:nvSpPr>
        <p:spPr>
          <a:xfrm>
            <a:off x="5309030" y="385"/>
            <a:ext cx="6966033" cy="6857615"/>
          </a:xfrm>
          <a:custGeom>
            <a:avLst/>
            <a:gdLst/>
            <a:ahLst/>
            <a:cxnLst/>
            <a:rect l="l" t="t" r="r" b="b"/>
            <a:pathLst>
              <a:path w="11489690" h="11308715">
                <a:moveTo>
                  <a:pt x="0" y="11308556"/>
                </a:moveTo>
                <a:lnTo>
                  <a:pt x="11489178" y="11308556"/>
                </a:lnTo>
                <a:lnTo>
                  <a:pt x="11489178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3201" y="975908"/>
            <a:ext cx="3688457" cy="1026498"/>
          </a:xfrm>
        </p:spPr>
        <p:txBody>
          <a:bodyPr>
            <a:noAutofit/>
          </a:bodyPr>
          <a:lstStyle>
            <a:lvl1pPr>
              <a:lnSpc>
                <a:spcPts val="4002"/>
              </a:lnSpc>
              <a:spcBef>
                <a:spcPts val="0"/>
              </a:spcBef>
              <a:defRPr sz="4244" kern="1200" spc="-6" baseline="0"/>
            </a:lvl1pPr>
          </a:lstStyle>
          <a:p>
            <a:r>
              <a:rPr lang="en-US"/>
              <a:t>Pag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88379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3551FB62-DBA4-F947-B9F2-3141E9F1047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384CD10-14F1-4C4A-B3C8-DAA6EA25BA1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71439" y="2225673"/>
            <a:ext cx="3695917" cy="4049917"/>
          </a:xfrm>
        </p:spPr>
        <p:txBody>
          <a:bodyPr/>
          <a:lstStyle>
            <a:lvl1pPr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7200" indent="-277200"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Holder 6">
            <a:extLst>
              <a:ext uri="{FF2B5EF4-FFF2-40B4-BE49-F238E27FC236}">
                <a16:creationId xmlns:a16="http://schemas.microsoft.com/office/drawing/2014/main" id="{C95EDC03-31B7-804E-AEDD-359A186FE21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A28F73E6-AF80-9445-B5C5-CF00EC51B18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C51953F-3B4D-6245-AF7D-7B91EFDE28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192185" y="2220860"/>
            <a:ext cx="3695917" cy="4049917"/>
          </a:xfrm>
        </p:spPr>
        <p:txBody>
          <a:bodyPr/>
          <a:lstStyle>
            <a:lvl1pPr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7200" indent="-277200"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635211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12" orient="horz" pos="6519">
          <p15:clr>
            <a:srgbClr val="FBAE40"/>
          </p15:clr>
        </p15:guide>
        <p15:guide id="13" orient="horz" pos="2314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 AES Internal [2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object 2">
            <a:extLst>
              <a:ext uri="{FF2B5EF4-FFF2-40B4-BE49-F238E27FC236}">
                <a16:creationId xmlns:a16="http://schemas.microsoft.com/office/drawing/2014/main" id="{791688A6-CF45-7449-9CB2-A24896AFBAC5}"/>
              </a:ext>
            </a:extLst>
          </p:cNvPr>
          <p:cNvSpPr/>
          <p:nvPr/>
        </p:nvSpPr>
        <p:spPr>
          <a:xfrm>
            <a:off x="5221514" y="0"/>
            <a:ext cx="6966033" cy="6857615"/>
          </a:xfrm>
          <a:custGeom>
            <a:avLst/>
            <a:gdLst/>
            <a:ahLst/>
            <a:cxnLst/>
            <a:rect l="l" t="t" r="r" b="b"/>
            <a:pathLst>
              <a:path w="11489690" h="11308715">
                <a:moveTo>
                  <a:pt x="0" y="11308556"/>
                </a:moveTo>
                <a:lnTo>
                  <a:pt x="11489178" y="11308556"/>
                </a:lnTo>
                <a:lnTo>
                  <a:pt x="11489178" y="0"/>
                </a:lnTo>
                <a:lnTo>
                  <a:pt x="0" y="0"/>
                </a:lnTo>
                <a:lnTo>
                  <a:pt x="0" y="11308556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5" name="Picture 14" descr="A picture containing wheel&#10;&#10;Description automatically generated">
            <a:extLst>
              <a:ext uri="{FF2B5EF4-FFF2-40B4-BE49-F238E27FC236}">
                <a16:creationId xmlns:a16="http://schemas.microsoft.com/office/drawing/2014/main" id="{7525D4D8-0C2C-4740-92DB-9F85C07F0D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EB4CF491-4EFB-084D-A61D-19BB5F745BC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69284" y="975908"/>
            <a:ext cx="4662553" cy="5285897"/>
          </a:xfrm>
        </p:spPr>
        <p:txBody>
          <a:bodyPr>
            <a:normAutofit/>
          </a:bodyPr>
          <a:lstStyle>
            <a:lvl1pPr marL="0" indent="0">
              <a:lnSpc>
                <a:spcPts val="4002"/>
              </a:lnSpc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4244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lnSpc>
                <a:spcPct val="100000"/>
              </a:lnSpc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lang="en-US" sz="1455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>
              <a:defRPr lang="en-US" sz="1455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>
              <a:defRPr lang="en-US" sz="1455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0" lvl="2">
              <a:spcAft>
                <a:spcPts val="485"/>
              </a:spcAft>
            </a:pPr>
            <a:r>
              <a:rPr lang="en-US"/>
              <a:t>Third level</a:t>
            </a:r>
          </a:p>
          <a:p>
            <a:pPr marL="277200" lvl="3" indent="-277200">
              <a:spcAft>
                <a:spcPts val="485"/>
              </a:spcAft>
              <a:buFont typeface="System Font Regular"/>
              <a:buChar char="→"/>
            </a:pPr>
            <a:r>
              <a:rPr lang="en-US"/>
              <a:t>Fourth level</a:t>
            </a:r>
          </a:p>
          <a:p>
            <a:pPr marL="0" lvl="4">
              <a:spcAft>
                <a:spcPts val="485"/>
              </a:spcAft>
            </a:pPr>
            <a:r>
              <a:rPr lang="en-US"/>
              <a:t>Fifth leve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183CE846-9DEF-F54D-B67D-F1527206089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1693" y="975908"/>
            <a:ext cx="4661212" cy="5299528"/>
          </a:xfrm>
        </p:spPr>
        <p:txBody>
          <a:bodyPr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lnSpc>
                <a:spcPct val="100000"/>
              </a:lnSpc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 indent="-44352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lang="en-US" sz="1455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>
              <a:spcAft>
                <a:spcPts val="485"/>
              </a:spcAft>
              <a:buFont typeface="System Font Regular"/>
              <a:defRPr lang="en-US" sz="1455" dirty="0" smtClean="0"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>
              <a:defRPr lang="en-US" sz="1455" dirty="0">
                <a:solidFill>
                  <a:schemeClr val="accent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marL="0" lvl="2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</a:pPr>
            <a:r>
              <a:rPr lang="en-US"/>
              <a:t>Third level</a:t>
            </a:r>
          </a:p>
          <a:p>
            <a:pPr marL="277200" lvl="3" indent="-277200">
              <a:spcAft>
                <a:spcPts val="485"/>
              </a:spcAft>
              <a:buFont typeface="System Font Regular"/>
              <a:buChar char="→"/>
            </a:pPr>
            <a:r>
              <a:rPr lang="en-US"/>
              <a:t>Fourth level</a:t>
            </a:r>
          </a:p>
          <a:p>
            <a:pPr marL="0" lvl="4">
              <a:spcAft>
                <a:spcPts val="485"/>
              </a:spcAft>
            </a:pPr>
            <a:r>
              <a:rPr lang="en-US"/>
              <a:t>Fifth level</a:t>
            </a:r>
          </a:p>
        </p:txBody>
      </p:sp>
      <p:sp>
        <p:nvSpPr>
          <p:cNvPr id="12" name="Holder 6">
            <a:extLst>
              <a:ext uri="{FF2B5EF4-FFF2-40B4-BE49-F238E27FC236}">
                <a16:creationId xmlns:a16="http://schemas.microsoft.com/office/drawing/2014/main" id="{5568332A-3C71-D54E-B118-FE100A550DC1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6FB4913-1BE1-2E46-929D-DB8BDFE78D3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8865999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4" orient="horz" pos="1021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 AES Internal [3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1950352"/>
            <a:ext cx="3690219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6454" y="1950352"/>
            <a:ext cx="3695917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32864" y="1950352"/>
            <a:ext cx="3690219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C1BE46A8-5E78-D540-B7A4-A3ABB3FA147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1385658-B7C9-D440-949B-D94D13F175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739196"/>
            <a:ext cx="3690219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AEE4267-A41A-5140-83CE-41FEC571290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39447" y="2739196"/>
            <a:ext cx="3695917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62572B3-F251-1D45-8BFA-4003EE28528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8850" y="2739196"/>
            <a:ext cx="3690220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Holder 6">
            <a:extLst>
              <a:ext uri="{FF2B5EF4-FFF2-40B4-BE49-F238E27FC236}">
                <a16:creationId xmlns:a16="http://schemas.microsoft.com/office/drawing/2014/main" id="{097D15B3-42A8-6D4C-ABF7-5CA7BA9BCAE0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59DAEC1-F79B-5447-9B9D-9E08CD7E64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5410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519">
          <p15:clr>
            <a:srgbClr val="FBAE40"/>
          </p15:clr>
        </p15:guide>
        <p15:guide id="12" orient="horz" pos="2026">
          <p15:clr>
            <a:srgbClr val="FBAE40"/>
          </p15:clr>
        </p15:guide>
        <p15:guide id="13" orient="horz" pos="2842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7" orient="horz" pos="643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 AES Internal [3 Column 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14529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4036709"/>
            <a:ext cx="3690219" cy="621498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6454" y="4036709"/>
            <a:ext cx="3695917" cy="621498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27166" y="4036709"/>
            <a:ext cx="3695917" cy="621498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pic>
        <p:nvPicPr>
          <p:cNvPr id="18" name="Picture 17" descr="A picture containing wheel&#10;&#10;Description automatically generated">
            <a:extLst>
              <a:ext uri="{FF2B5EF4-FFF2-40B4-BE49-F238E27FC236}">
                <a16:creationId xmlns:a16="http://schemas.microsoft.com/office/drawing/2014/main" id="{C2157615-D9F9-6940-8E15-578A5562F2E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0CC0ECDD-BAC6-C443-B041-A212411416E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4907648"/>
            <a:ext cx="3690219" cy="137125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C45F515-B6F2-2B42-A0E4-EF5C0463849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21469" y="4907648"/>
            <a:ext cx="3695917" cy="137125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8EE0980D-BC13-8F42-956B-E113FBFB24C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243606" y="4907648"/>
            <a:ext cx="3695917" cy="137125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B06A6E82-1007-3046-9A83-7E172C222A9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742" y="979990"/>
            <a:ext cx="3695917" cy="286488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A919393-093C-F948-B8CB-0314CBC5A7C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246454" y="979990"/>
            <a:ext cx="3695917" cy="286488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E9449791-FEF1-D843-BAEC-4498C148369E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8127166" y="979990"/>
            <a:ext cx="3695917" cy="2864880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Holder 6">
            <a:extLst>
              <a:ext uri="{FF2B5EF4-FFF2-40B4-BE49-F238E27FC236}">
                <a16:creationId xmlns:a16="http://schemas.microsoft.com/office/drawing/2014/main" id="{A8425E57-4C38-AD4D-A99A-FFF14F177D4C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083B4DCA-1D25-D441-88B5-74DD837EC8DE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0870877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3" orient="horz" pos="5098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6" orient="horz" pos="418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 AES Internal [4 Column 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/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3216060"/>
            <a:ext cx="2720041" cy="518848"/>
          </a:xfrm>
        </p:spPr>
        <p:txBody>
          <a:bodyPr tIns="9144">
            <a:normAutofit/>
          </a:bodyPr>
          <a:lstStyle>
            <a:lvl1pPr marL="0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1218" y="3216060"/>
            <a:ext cx="2720040" cy="518848"/>
          </a:xfrm>
        </p:spPr>
        <p:txBody>
          <a:bodyPr tIns="9144">
            <a:normAutofit/>
          </a:bodyPr>
          <a:lstStyle>
            <a:lvl1pPr marL="0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101196" y="3216060"/>
            <a:ext cx="2720040" cy="518848"/>
          </a:xfrm>
        </p:spPr>
        <p:txBody>
          <a:bodyPr tIns="9144">
            <a:normAutofit/>
          </a:bodyPr>
          <a:lstStyle>
            <a:lvl1pPr marL="0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A76F70D-96D0-104C-A023-D33CFDD6D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277569" y="3216060"/>
            <a:ext cx="2720040" cy="518848"/>
          </a:xfrm>
        </p:spPr>
        <p:txBody>
          <a:bodyPr tIns="9144">
            <a:normAutofit/>
          </a:bodyPr>
          <a:lstStyle>
            <a:lvl1pPr marL="0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58" name="Picture 57" descr="A picture containing wheel&#10;&#10;Description automatically generated">
            <a:extLst>
              <a:ext uri="{FF2B5EF4-FFF2-40B4-BE49-F238E27FC236}">
                <a16:creationId xmlns:a16="http://schemas.microsoft.com/office/drawing/2014/main" id="{C45FBAE5-9C69-3D4D-8D0B-EB30E418B76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F17BD89D-839A-7F43-BFE4-3C3D5BC838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3470" y="3992350"/>
            <a:ext cx="2717740" cy="229209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33812876-F3D0-BF4A-ABF9-0D0626AF4A5F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3277112" y="3992350"/>
            <a:ext cx="2717740" cy="229209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9" name="Text Placeholder 3">
            <a:extLst>
              <a:ext uri="{FF2B5EF4-FFF2-40B4-BE49-F238E27FC236}">
                <a16:creationId xmlns:a16="http://schemas.microsoft.com/office/drawing/2014/main" id="{A0301BE8-9C73-E74B-9FBD-9CB850EE3814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88267" y="3992350"/>
            <a:ext cx="2717740" cy="229209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0" name="Text Placeholder 3">
            <a:extLst>
              <a:ext uri="{FF2B5EF4-FFF2-40B4-BE49-F238E27FC236}">
                <a16:creationId xmlns:a16="http://schemas.microsoft.com/office/drawing/2014/main" id="{65512032-830E-4547-A341-F62A78C8D2F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095754" y="3992350"/>
            <a:ext cx="2717740" cy="229209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6EC01602-C819-B34F-9755-15789967040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65742" y="979989"/>
            <a:ext cx="2717740" cy="197862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9A26958C-B51A-144D-BBBB-32201A2BDD5F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276276" y="979989"/>
            <a:ext cx="2717740" cy="197862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8D8F022D-5556-254C-A105-8AB0AD2A5F9A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6186811" y="979989"/>
            <a:ext cx="2717740" cy="197862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6AB2F741-53F4-BE48-A8FC-622B74F66256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9097345" y="979989"/>
            <a:ext cx="2717740" cy="197862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Holder 6">
            <a:extLst>
              <a:ext uri="{FF2B5EF4-FFF2-40B4-BE49-F238E27FC236}">
                <a16:creationId xmlns:a16="http://schemas.microsoft.com/office/drawing/2014/main" id="{AD7DD2E0-71A1-1D4E-9B38-473F805C0EE4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B14B79C3-514A-814E-B989-A219DC3ADEBC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830277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2" orient="horz" pos="3322">
          <p15:clr>
            <a:srgbClr val="FBAE40"/>
          </p15:clr>
        </p15:guide>
        <p15:guide id="13" orient="horz" pos="4138">
          <p15:clr>
            <a:srgbClr val="FBAE40"/>
          </p15:clr>
        </p15:guide>
        <p15:guide id="14" orient="horz" pos="5603">
          <p15:clr>
            <a:srgbClr val="FBAE40"/>
          </p15:clr>
        </p15:guide>
        <p15:guide id="17" orient="horz" pos="298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 AES Internal [4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6C723557-140B-294B-883B-2674F360C7C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194510" y="4074894"/>
            <a:ext cx="2697865" cy="2190247"/>
          </a:xfrm>
        </p:spPr>
        <p:txBody>
          <a:bodyPr>
            <a:noAutofit/>
          </a:bodyPr>
          <a:lstStyle>
            <a:lvl1pPr marL="443521" indent="-44352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1455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521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sz="145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/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975908"/>
            <a:ext cx="2720041" cy="1032097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wo 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194511" y="975908"/>
            <a:ext cx="2697865" cy="1032097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wo 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097345" y="975908"/>
            <a:ext cx="2722197" cy="1032097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wo line titl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AA76F70D-96D0-104C-A023-D33CFDD6DAD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304150" y="975908"/>
            <a:ext cx="2697865" cy="1032097"/>
          </a:xfrm>
        </p:spPr>
        <p:txBody>
          <a:bodyPr tIns="9144">
            <a:noAutofit/>
          </a:bodyPr>
          <a:lstStyle>
            <a:lvl1pPr marL="5544">
              <a:lnSpc>
                <a:spcPts val="4002"/>
              </a:lnSpc>
              <a:spcBef>
                <a:spcPts val="0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wo line title</a:t>
            </a:r>
          </a:p>
        </p:txBody>
      </p:sp>
      <p:pic>
        <p:nvPicPr>
          <p:cNvPr id="41" name="Picture 40" descr="A picture containing wheel&#10;&#10;Description automatically generated">
            <a:extLst>
              <a:ext uri="{FF2B5EF4-FFF2-40B4-BE49-F238E27FC236}">
                <a16:creationId xmlns:a16="http://schemas.microsoft.com/office/drawing/2014/main" id="{58984222-93F8-7048-9ECE-5534D90B02CD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DBA9D78-C24E-3542-B126-B9D0417DAE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226636"/>
            <a:ext cx="2720041" cy="157202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E507EFF1-AFB5-6443-9951-68BA61759451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304150" y="2226636"/>
            <a:ext cx="2697865" cy="157202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D9D058CD-3278-2748-B4B3-C06320E484E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6194512" y="2226636"/>
            <a:ext cx="2697865" cy="157202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0F275BCE-FC74-0A46-A675-0F617C1130ED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9097345" y="2226636"/>
            <a:ext cx="2722197" cy="157202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02606580-C414-C44C-B66A-A3091B3247B6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3304150" y="4074894"/>
            <a:ext cx="2697865" cy="2190247"/>
          </a:xfrm>
        </p:spPr>
        <p:txBody>
          <a:bodyPr>
            <a:noAutofit/>
          </a:bodyPr>
          <a:lstStyle>
            <a:lvl1pPr marL="443521" indent="-44352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1455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521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sz="145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7B4EB9E0-49C9-E34E-A023-1A9483B06B8C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371439" y="4074894"/>
            <a:ext cx="2720041" cy="2190247"/>
          </a:xfrm>
        </p:spPr>
        <p:txBody>
          <a:bodyPr>
            <a:noAutofit/>
          </a:bodyPr>
          <a:lstStyle>
            <a:lvl1pPr marL="443521" indent="-44352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1455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521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sz="145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90CDAACA-09B9-C346-9A39-627C1D8A9014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9097345" y="4074894"/>
            <a:ext cx="2722197" cy="2190247"/>
          </a:xfrm>
        </p:spPr>
        <p:txBody>
          <a:bodyPr>
            <a:noAutofit/>
          </a:bodyPr>
          <a:lstStyle>
            <a:lvl1pPr marL="443521" indent="-443521">
              <a:spcBef>
                <a:spcPts val="485"/>
              </a:spcBef>
              <a:spcAft>
                <a:spcPts val="485"/>
              </a:spcAft>
              <a:buFont typeface="System Font Regular"/>
              <a:buChar char="→"/>
              <a:defRPr sz="212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43521" indent="-443521">
              <a:spcBef>
                <a:spcPts val="0"/>
              </a:spcBef>
              <a:spcAft>
                <a:spcPts val="485"/>
              </a:spcAft>
              <a:buFont typeface="System Font Regular"/>
              <a:buNone/>
              <a:defRPr sz="1455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443521" indent="0">
              <a:spcBef>
                <a:spcPts val="485"/>
              </a:spcBef>
              <a:spcAft>
                <a:spcPts val="485"/>
              </a:spcAft>
              <a:buFont typeface="System Font Regular"/>
              <a:buNone/>
              <a:defRPr sz="1455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9" name="Holder 6">
            <a:extLst>
              <a:ext uri="{FF2B5EF4-FFF2-40B4-BE49-F238E27FC236}">
                <a16:creationId xmlns:a16="http://schemas.microsoft.com/office/drawing/2014/main" id="{672AB3D8-585E-B846-AF90-18EE3FECA32D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D9DE861A-D6C1-6C4C-A17B-5F1F5338C837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7286576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3">
          <p15:clr>
            <a:srgbClr val="FBAE40"/>
          </p15:clr>
        </p15:guide>
        <p15:guide id="4" orient="horz" pos="6519">
          <p15:clr>
            <a:srgbClr val="FBAE40"/>
          </p15:clr>
        </p15:guide>
        <p15:guide id="12" orient="horz" pos="4224">
          <p15:clr>
            <a:srgbClr val="FBAE40"/>
          </p15:clr>
        </p15:guide>
        <p15:guide id="13" orient="horz" pos="2313">
          <p15:clr>
            <a:srgbClr val="FBAE40"/>
          </p15:clr>
        </p15:guide>
        <p15:guide id="14" orient="horz" pos="1004">
          <p15:clr>
            <a:srgbClr val="FBAE40"/>
          </p15:clr>
        </p15:guide>
      </p15:sldGuideLst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4 AES Internal [6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39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942638"/>
            <a:ext cx="3690218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6454" y="942638"/>
            <a:ext cx="3695916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27166" y="942638"/>
            <a:ext cx="3692375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85AE1DE9-C4DC-0747-9E4D-B3297B6A5CF4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1439" y="3770552"/>
            <a:ext cx="3690218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38B1B4F7-4313-9A48-94FC-A21951398B9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246454" y="3770552"/>
            <a:ext cx="3695916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30A0D0DA-ECF4-D546-9966-CE4A8AFD937B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127166" y="3770552"/>
            <a:ext cx="3692375" cy="599102"/>
          </a:xfrm>
        </p:spPr>
        <p:txBody>
          <a:bodyPr tIns="64008">
            <a:noAutofit/>
          </a:bodyPr>
          <a:lstStyle>
            <a:lvl1pPr marL="0">
              <a:lnSpc>
                <a:spcPct val="100000"/>
              </a:lnSpc>
              <a:spcBef>
                <a:spcPts val="303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Long two </a:t>
            </a:r>
            <a:br>
              <a:rPr lang="en-US"/>
            </a:br>
            <a:r>
              <a:rPr lang="en-US"/>
              <a:t>line title</a:t>
            </a:r>
          </a:p>
        </p:txBody>
      </p:sp>
      <p:pic>
        <p:nvPicPr>
          <p:cNvPr id="46" name="Picture 45" descr="A picture containing wheel&#10;&#10;Description automatically generated">
            <a:extLst>
              <a:ext uri="{FF2B5EF4-FFF2-40B4-BE49-F238E27FC236}">
                <a16:creationId xmlns:a16="http://schemas.microsoft.com/office/drawing/2014/main" id="{E4223E6B-0F11-0342-8303-C9ED1F40475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CB3DD61E-93BD-3B4E-9A3C-A73A593459B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71439" y="4652196"/>
            <a:ext cx="3690219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273BB677-CF77-3443-83E9-67F96FE1D5B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246454" y="4652196"/>
            <a:ext cx="3695917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85A78AD6-DDEA-B94C-8CDE-8EBD70BE2504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7167" y="4652196"/>
            <a:ext cx="3692375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BA4202AB-2831-C540-8D23-D37E42B301DF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71439" y="1819241"/>
            <a:ext cx="3690219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0" name="Text Placeholder 3">
            <a:extLst>
              <a:ext uri="{FF2B5EF4-FFF2-40B4-BE49-F238E27FC236}">
                <a16:creationId xmlns:a16="http://schemas.microsoft.com/office/drawing/2014/main" id="{F7A92D07-F8E0-BF47-BF8A-45D79F48529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246454" y="1819241"/>
            <a:ext cx="3695917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1" name="Text Placeholder 3">
            <a:extLst>
              <a:ext uri="{FF2B5EF4-FFF2-40B4-BE49-F238E27FC236}">
                <a16:creationId xmlns:a16="http://schemas.microsoft.com/office/drawing/2014/main" id="{0790FE8D-1A26-C246-9C82-5A5EFC7F88DE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8127167" y="1819241"/>
            <a:ext cx="3692375" cy="1595477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Holder 6">
            <a:extLst>
              <a:ext uri="{FF2B5EF4-FFF2-40B4-BE49-F238E27FC236}">
                <a16:creationId xmlns:a16="http://schemas.microsoft.com/office/drawing/2014/main" id="{C9635295-E32A-C549-AE56-00BF937C60AB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E28DE288-1D05-1547-B26F-714639A1DF05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29149915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490">
          <p15:clr>
            <a:srgbClr val="FBAE40"/>
          </p15:clr>
        </p15:guide>
        <p15:guide id="13" orient="horz" pos="1882">
          <p15:clr>
            <a:srgbClr val="FBAE40"/>
          </p15:clr>
        </p15:guide>
        <p15:guide id="14" orient="horz" pos="970">
          <p15:clr>
            <a:srgbClr val="FBAE40"/>
          </p15:clr>
        </p15:guide>
        <p15:guide id="17" orient="horz" pos="4837">
          <p15:clr>
            <a:srgbClr val="FBAE40"/>
          </p15:clr>
        </p15:guide>
        <p15:guide id="20" orient="horz" pos="3917">
          <p15:clr>
            <a:srgbClr val="FBAE40"/>
          </p15:clr>
        </p15:guide>
        <p15:guide id="21" orient="horz" pos="1611">
          <p15:clr>
            <a:srgbClr val="FBAE40"/>
          </p15:clr>
        </p15:guide>
        <p15:guide id="22" orient="horz" pos="4545">
          <p15:clr>
            <a:srgbClr val="FBAE40"/>
          </p15:clr>
        </p15:guide>
        <p15:guide id="23" orient="horz" pos="643">
          <p15:clr>
            <a:srgbClr val="FBAE40"/>
          </p15:clr>
        </p15:guide>
      </p15:sldGuideLst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5 AES Internal [6 Grid 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" name="object 9">
            <a:extLst>
              <a:ext uri="{FF2B5EF4-FFF2-40B4-BE49-F238E27FC236}">
                <a16:creationId xmlns:a16="http://schemas.microsoft.com/office/drawing/2014/main" id="{2FB943FF-8B77-BA40-897F-995F9B88CB58}"/>
              </a:ext>
            </a:extLst>
          </p:cNvPr>
          <p:cNvSpPr/>
          <p:nvPr/>
        </p:nvSpPr>
        <p:spPr>
          <a:xfrm>
            <a:off x="4195133" y="3521031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4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58" name="object 2">
            <a:extLst>
              <a:ext uri="{FF2B5EF4-FFF2-40B4-BE49-F238E27FC236}">
                <a16:creationId xmlns:a16="http://schemas.microsoft.com/office/drawing/2014/main" id="{6BB95872-F51B-D049-8879-0CA8E559C6D6}"/>
              </a:ext>
            </a:extLst>
          </p:cNvPr>
          <p:cNvSpPr/>
          <p:nvPr/>
        </p:nvSpPr>
        <p:spPr>
          <a:xfrm>
            <a:off x="371440" y="981453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5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 spc="-6" baseline="0"/>
          </a:p>
        </p:txBody>
      </p:sp>
      <p:sp>
        <p:nvSpPr>
          <p:cNvPr id="60" name="object 4">
            <a:extLst>
              <a:ext uri="{FF2B5EF4-FFF2-40B4-BE49-F238E27FC236}">
                <a16:creationId xmlns:a16="http://schemas.microsoft.com/office/drawing/2014/main" id="{686A7363-E8B5-374F-99FC-667EB0953A7E}"/>
              </a:ext>
            </a:extLst>
          </p:cNvPr>
          <p:cNvSpPr/>
          <p:nvPr/>
        </p:nvSpPr>
        <p:spPr>
          <a:xfrm>
            <a:off x="8002090" y="981453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5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975924-3337-DC45-A059-6916F5829F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6900" y="1114531"/>
            <a:ext cx="1554403" cy="405933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E563CE52-0B2A-FC45-9BA3-B228D53434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5475" y="3676288"/>
            <a:ext cx="1557069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6" name="Text Placeholder 3">
            <a:extLst>
              <a:ext uri="{FF2B5EF4-FFF2-40B4-BE49-F238E27FC236}">
                <a16:creationId xmlns:a16="http://schemas.microsoft.com/office/drawing/2014/main" id="{23B0CCAE-3E3E-524A-9978-45E0360424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79661" y="1114531"/>
            <a:ext cx="1569347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7" name="Text Placeholder 3">
            <a:extLst>
              <a:ext uri="{FF2B5EF4-FFF2-40B4-BE49-F238E27FC236}">
                <a16:creationId xmlns:a16="http://schemas.microsoft.com/office/drawing/2014/main" id="{991E0909-7CF2-C847-9F00-BEB6C298BE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9661" y="3676288"/>
            <a:ext cx="1569347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51CE83B5-6886-844E-8EFD-166FD9A10C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82759" y="3676288"/>
            <a:ext cx="1561371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99160EDD-353C-D041-809C-866103654C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82759" y="1114531"/>
            <a:ext cx="1561371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26" name="Picture 25" descr="A picture containing wheel&#10;&#10;Description automatically generated">
            <a:extLst>
              <a:ext uri="{FF2B5EF4-FFF2-40B4-BE49-F238E27FC236}">
                <a16:creationId xmlns:a16="http://schemas.microsoft.com/office/drawing/2014/main" id="{927658FD-7870-8C4E-B863-4E23D5B7974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5E7D16D-77CA-754B-860C-AC3D1719D9F0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1335920" y="1395859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DA236BD8-75EF-8444-B8AF-7E2EB9FC37B4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216633" y="1395859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19" name="Picture Placeholder 2">
            <a:extLst>
              <a:ext uri="{FF2B5EF4-FFF2-40B4-BE49-F238E27FC236}">
                <a16:creationId xmlns:a16="http://schemas.microsoft.com/office/drawing/2014/main" id="{2D9BD3E9-72E7-C147-A2D4-859F993768B2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097345" y="1395859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40E6A6F4-B474-FF42-BACD-1144AAD2FDF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335920" y="3983493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EB16904F-05C4-FB4E-8E41-DC88FF4657A1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216633" y="3983493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0CFDD25B-241C-EE4B-99F8-89DA1BAE6326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9097345" y="3983493"/>
            <a:ext cx="1755560" cy="1755894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3" name="Holder 6">
            <a:extLst>
              <a:ext uri="{FF2B5EF4-FFF2-40B4-BE49-F238E27FC236}">
                <a16:creationId xmlns:a16="http://schemas.microsoft.com/office/drawing/2014/main" id="{EA485649-022B-3946-8A30-C2DD152AFF58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A2450B02-C863-3241-B588-316C0DF9B85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7032985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98">
          <p15:clr>
            <a:srgbClr val="FBAE40"/>
          </p15:clr>
        </p15:guide>
        <p15:guide id="4" orient="horz" pos="6519">
          <p15:clr>
            <a:srgbClr val="FBAE40"/>
          </p15:clr>
        </p15:guide>
        <p15:guide id="12" orient="horz" pos="3648">
          <p15:clr>
            <a:srgbClr val="FBAE40"/>
          </p15:clr>
        </p15:guide>
        <p15:guide id="13" orient="horz" pos="6310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5" orient="horz" pos="638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893"/>
            <a:ext cx="12187238" cy="6855320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>
          <a:xfrm>
            <a:off x="1" y="-1"/>
            <a:ext cx="12187238" cy="6856214"/>
          </a:xfrm>
          <a:prstGeom prst="rect">
            <a:avLst/>
          </a:prstGeom>
          <a:gradFill>
            <a:gsLst>
              <a:gs pos="0">
                <a:srgbClr val="111518"/>
              </a:gs>
              <a:gs pos="63000">
                <a:srgbClr val="111518">
                  <a:alpha val="0"/>
                </a:srgbClr>
              </a:gs>
            </a:gsLst>
            <a:lin ang="5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126">
              <a:defRPr/>
            </a:pPr>
            <a:endParaRPr lang="es-CL" sz="1799">
              <a:solidFill>
                <a:srgbClr val="FFFFFF"/>
              </a:solidFill>
              <a:latin typeface="Arial Narrow"/>
            </a:endParaRPr>
          </a:p>
        </p:txBody>
      </p:sp>
      <p:sp>
        <p:nvSpPr>
          <p:cNvPr id="6" name="Rectángulo 5">
            <a:extLst>
              <a:ext uri="{FF2B5EF4-FFF2-40B4-BE49-F238E27FC236}">
                <a16:creationId xmlns:a16="http://schemas.microsoft.com/office/drawing/2014/main" id="{3BBBE891-7B3B-4FE3-97A1-1D57CA721F64}"/>
              </a:ext>
            </a:extLst>
          </p:cNvPr>
          <p:cNvSpPr/>
          <p:nvPr userDrawn="1"/>
        </p:nvSpPr>
        <p:spPr bwMode="auto">
          <a:xfrm>
            <a:off x="0" y="-1788"/>
            <a:ext cx="12188825" cy="6858001"/>
          </a:xfrm>
          <a:prstGeom prst="rect">
            <a:avLst/>
          </a:prstGeom>
          <a:solidFill>
            <a:srgbClr val="003F5F">
              <a:alpha val="32157"/>
            </a:srgbClr>
          </a:solidFill>
          <a:ln w="25400">
            <a:noFill/>
            <a:round/>
            <a:headEnd/>
            <a:tailEnd/>
          </a:ln>
          <a:effectLst/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90000"/>
              </a:lnSpc>
            </a:pPr>
            <a:endParaRPr lang="es-CL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5298399"/>
      </p:ext>
    </p:extLst>
  </p:cSld>
  <p:clrMapOvr>
    <a:masterClrMapping/>
  </p:clrMapOvr>
  <p:hf hdr="0" ftr="0" dt="0"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6 AES Internal [6 Grid Imag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26" name="Picture 25" descr="A picture containing wheel&#10;&#10;Description automatically generated">
            <a:extLst>
              <a:ext uri="{FF2B5EF4-FFF2-40B4-BE49-F238E27FC236}">
                <a16:creationId xmlns:a16="http://schemas.microsoft.com/office/drawing/2014/main" id="{927658FD-7870-8C4E-B863-4E23D5B7974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22" name="Holder 6">
            <a:extLst>
              <a:ext uri="{FF2B5EF4-FFF2-40B4-BE49-F238E27FC236}">
                <a16:creationId xmlns:a16="http://schemas.microsoft.com/office/drawing/2014/main" id="{8E1F3504-BD62-B24E-AC65-38655A6B2AD8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746E1CB1-F6A0-D145-B486-3814B7531D3A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975924-3337-DC45-A059-6916F5829F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87632" y="1114531"/>
            <a:ext cx="1554402" cy="405933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E563CE52-0B2A-FC45-9BA3-B228D53434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86208" y="3676288"/>
            <a:ext cx="1554402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6" name="Text Placeholder 3">
            <a:extLst>
              <a:ext uri="{FF2B5EF4-FFF2-40B4-BE49-F238E27FC236}">
                <a16:creationId xmlns:a16="http://schemas.microsoft.com/office/drawing/2014/main" id="{23B0CCAE-3E3E-524A-9978-45E0360424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6920" y="1114531"/>
            <a:ext cx="1554402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7" name="Text Placeholder 3">
            <a:extLst>
              <a:ext uri="{FF2B5EF4-FFF2-40B4-BE49-F238E27FC236}">
                <a16:creationId xmlns:a16="http://schemas.microsoft.com/office/drawing/2014/main" id="{991E0909-7CF2-C847-9F00-BEB6C298BE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266920" y="3676288"/>
            <a:ext cx="1554402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51CE83B5-6886-844E-8EFD-166FD9A10C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43326" y="3676288"/>
            <a:ext cx="1554402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99160EDD-353C-D041-809C-866103654C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43326" y="1114531"/>
            <a:ext cx="1554402" cy="413710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3330344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4" orient="horz" pos="6519">
          <p15:clr>
            <a:srgbClr val="FBAE40"/>
          </p15:clr>
        </p15:guide>
        <p15:guide id="12" orient="horz" pos="3610">
          <p15:clr>
            <a:srgbClr val="FBAE40"/>
          </p15:clr>
        </p15:guide>
        <p15:guide id="13" orient="horz" pos="6310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5" orient="horz" pos="638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7 AES Internal [6 Grid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object 9">
            <a:extLst>
              <a:ext uri="{FF2B5EF4-FFF2-40B4-BE49-F238E27FC236}">
                <a16:creationId xmlns:a16="http://schemas.microsoft.com/office/drawing/2014/main" id="{CB6F4EB2-167E-924A-A56F-B516773A281E}"/>
              </a:ext>
            </a:extLst>
          </p:cNvPr>
          <p:cNvSpPr/>
          <p:nvPr/>
        </p:nvSpPr>
        <p:spPr>
          <a:xfrm>
            <a:off x="4195133" y="3521031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4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18" name="object 2">
            <a:extLst>
              <a:ext uri="{FF2B5EF4-FFF2-40B4-BE49-F238E27FC236}">
                <a16:creationId xmlns:a16="http://schemas.microsoft.com/office/drawing/2014/main" id="{8C39E4CC-CB02-2E42-A5BF-1E07B8E526FF}"/>
              </a:ext>
            </a:extLst>
          </p:cNvPr>
          <p:cNvSpPr/>
          <p:nvPr/>
        </p:nvSpPr>
        <p:spPr>
          <a:xfrm>
            <a:off x="371440" y="981453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5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 spc="-6" baseline="0"/>
          </a:p>
        </p:txBody>
      </p:sp>
      <p:sp>
        <p:nvSpPr>
          <p:cNvPr id="19" name="object 4">
            <a:extLst>
              <a:ext uri="{FF2B5EF4-FFF2-40B4-BE49-F238E27FC236}">
                <a16:creationId xmlns:a16="http://schemas.microsoft.com/office/drawing/2014/main" id="{67A8D81B-9F2E-CC43-970C-D25056A531C7}"/>
              </a:ext>
            </a:extLst>
          </p:cNvPr>
          <p:cNvSpPr/>
          <p:nvPr/>
        </p:nvSpPr>
        <p:spPr>
          <a:xfrm>
            <a:off x="8002090" y="981453"/>
            <a:ext cx="3802944" cy="2557214"/>
          </a:xfrm>
          <a:custGeom>
            <a:avLst/>
            <a:gdLst/>
            <a:ahLst/>
            <a:cxnLst/>
            <a:rect l="l" t="t" r="r" b="b"/>
            <a:pathLst>
              <a:path w="6272530" h="4217035">
                <a:moveTo>
                  <a:pt x="0" y="4216740"/>
                </a:moveTo>
                <a:lnTo>
                  <a:pt x="6272060" y="4216740"/>
                </a:lnTo>
                <a:lnTo>
                  <a:pt x="6272060" y="0"/>
                </a:lnTo>
                <a:lnTo>
                  <a:pt x="0" y="0"/>
                </a:lnTo>
                <a:lnTo>
                  <a:pt x="0" y="4216740"/>
                </a:lnTo>
                <a:close/>
              </a:path>
            </a:pathLst>
          </a:custGeom>
          <a:solidFill>
            <a:srgbClr val="F5F5F5"/>
          </a:solidFill>
        </p:spPr>
        <p:txBody>
          <a:bodyPr wrap="square" lIns="0" tIns="0" rIns="0" bIns="0" rtlCol="0"/>
          <a:lstStyle/>
          <a:p>
            <a:endParaRPr sz="1091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CA15B3B0-3924-4040-977E-CF3592326F1A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265764" y="1316948"/>
            <a:ext cx="3402245" cy="1694655"/>
          </a:xfrm>
        </p:spPr>
        <p:txBody>
          <a:bodyPr tIns="9144" anchor="t"/>
          <a:lstStyle>
            <a:lvl1pPr marL="5544" algn="ctr">
              <a:lnSpc>
                <a:spcPct val="100000"/>
              </a:lnSpc>
              <a:defRPr sz="10974" kern="1200" spc="-6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0%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CB87E6-F251-A049-9C59-BD3496C355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79661" y="4147272"/>
            <a:ext cx="3377914" cy="1684531"/>
          </a:xfrm>
        </p:spPr>
        <p:txBody>
          <a:bodyPr tIns="9144" anchor="t">
            <a:noAutofit/>
          </a:bodyPr>
          <a:lstStyle>
            <a:lvl1pPr marL="5544">
              <a:lnSpc>
                <a:spcPts val="6051"/>
              </a:lnSpc>
              <a:defRPr sz="6002" kern="1200" spc="-6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Highlight phras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2975924-3337-DC45-A059-6916F5829F9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566900" y="1114530"/>
            <a:ext cx="1554403" cy="315726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5" name="Text Placeholder 3">
            <a:extLst>
              <a:ext uri="{FF2B5EF4-FFF2-40B4-BE49-F238E27FC236}">
                <a16:creationId xmlns:a16="http://schemas.microsoft.com/office/drawing/2014/main" id="{E563CE52-0B2A-FC45-9BA3-B228D534344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65475" y="3676289"/>
            <a:ext cx="1557283" cy="315726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6" name="Text Placeholder 3">
            <a:extLst>
              <a:ext uri="{FF2B5EF4-FFF2-40B4-BE49-F238E27FC236}">
                <a16:creationId xmlns:a16="http://schemas.microsoft.com/office/drawing/2014/main" id="{23B0CCAE-3E3E-524A-9978-45E03604243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79661" y="1114531"/>
            <a:ext cx="1529955" cy="315726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7" name="Text Placeholder 3">
            <a:extLst>
              <a:ext uri="{FF2B5EF4-FFF2-40B4-BE49-F238E27FC236}">
                <a16:creationId xmlns:a16="http://schemas.microsoft.com/office/drawing/2014/main" id="{991E0909-7CF2-C847-9F00-BEB6C298BEA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379661" y="3676289"/>
            <a:ext cx="1529955" cy="315726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8" name="Text Placeholder 3">
            <a:extLst>
              <a:ext uri="{FF2B5EF4-FFF2-40B4-BE49-F238E27FC236}">
                <a16:creationId xmlns:a16="http://schemas.microsoft.com/office/drawing/2014/main" id="{51CE83B5-6886-844E-8EFD-166FD9A10C6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182760" y="3676289"/>
            <a:ext cx="1554563" cy="315726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79" name="Text Placeholder 3">
            <a:extLst>
              <a:ext uri="{FF2B5EF4-FFF2-40B4-BE49-F238E27FC236}">
                <a16:creationId xmlns:a16="http://schemas.microsoft.com/office/drawing/2014/main" id="{99160EDD-353C-D041-809C-866103654C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82760" y="1114532"/>
            <a:ext cx="1554563" cy="315725"/>
          </a:xfrm>
        </p:spPr>
        <p:txBody>
          <a:bodyPr>
            <a:noAutofit/>
          </a:bodyPr>
          <a:lstStyle>
            <a:lvl1pPr marL="5544">
              <a:lnSpc>
                <a:spcPct val="100000"/>
              </a:lnSpc>
              <a:spcBef>
                <a:spcPts val="61"/>
              </a:spcBef>
              <a:defRPr sz="1455" kern="1200" spc="3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AB40A94C-1AD3-ED46-BF7B-8D97FF59728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21" name="Holder 6">
            <a:extLst>
              <a:ext uri="{FF2B5EF4-FFF2-40B4-BE49-F238E27FC236}">
                <a16:creationId xmlns:a16="http://schemas.microsoft.com/office/drawing/2014/main" id="{793E7CA8-1AFA-2047-94FE-E8ADCA557739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71C64CB8-A19B-BF4A-B330-559305A4F7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485219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1">
          <p15:clr>
            <a:srgbClr val="FBAE40"/>
          </p15:clr>
        </p15:guide>
        <p15:guide id="4" orient="horz" pos="6301">
          <p15:clr>
            <a:srgbClr val="FBAE40"/>
          </p15:clr>
        </p15:guide>
        <p15:guide id="12" orient="horz" pos="3648">
          <p15:clr>
            <a:srgbClr val="FBAE40"/>
          </p15:clr>
        </p15:guide>
        <p15:guide id="13" orient="horz" pos="6538">
          <p15:clr>
            <a:srgbClr val="FBAE40"/>
          </p15:clr>
        </p15:guide>
        <p15:guide id="14" orient="horz" pos="1018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8 AES Internal [Chart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 hasCustomPrompt="1"/>
          </p:nvPr>
        </p:nvSpPr>
        <p:spPr>
          <a:xfrm>
            <a:off x="371439" y="975908"/>
            <a:ext cx="3690219" cy="1026498"/>
          </a:xfrm>
        </p:spPr>
        <p:txBody>
          <a:bodyPr>
            <a:normAutofit/>
          </a:bodyPr>
          <a:lstStyle>
            <a:lvl1pPr>
              <a:lnSpc>
                <a:spcPts val="4002"/>
              </a:lnSpc>
              <a:spcBef>
                <a:spcPts val="0"/>
              </a:spcBef>
              <a:defRPr sz="4244" kern="1200" spc="-6" baseline="0"/>
            </a:lvl1pPr>
          </a:lstStyle>
          <a:p>
            <a:r>
              <a:rPr lang="en-US"/>
              <a:t>Page</a:t>
            </a:r>
            <a:br>
              <a:rPr lang="en-US"/>
            </a:br>
            <a:r>
              <a:rPr lang="en-US"/>
              <a:t>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4" name="Picture 13" descr="A picture containing wheel&#10;&#10;Description automatically generated">
            <a:extLst>
              <a:ext uri="{FF2B5EF4-FFF2-40B4-BE49-F238E27FC236}">
                <a16:creationId xmlns:a16="http://schemas.microsoft.com/office/drawing/2014/main" id="{FA964E1C-29FE-CC47-AD3A-9F6F12CBCB7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4014ADE9-D192-B443-A631-7EE356D847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237225"/>
            <a:ext cx="3680647" cy="4045181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Holder 6">
            <a:extLst>
              <a:ext uri="{FF2B5EF4-FFF2-40B4-BE49-F238E27FC236}">
                <a16:creationId xmlns:a16="http://schemas.microsoft.com/office/drawing/2014/main" id="{9123438D-25A5-E341-B9D0-74EE24D5DA53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B1097475-D7CE-E946-B865-DEE1391C1B2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247776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1">
          <p15:clr>
            <a:srgbClr val="FBAE40"/>
          </p15:clr>
        </p15:guide>
        <p15:guide id="4" orient="horz" pos="6519">
          <p15:clr>
            <a:srgbClr val="FBAE40"/>
          </p15:clr>
        </p15:guide>
        <p15:guide id="13" orient="horz" pos="2314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6" orient="horz" pos="578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ES Blank [Title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pic>
        <p:nvPicPr>
          <p:cNvPr id="12" name="Picture 11" descr="A picture containing wheel&#10;&#10;Description automatically generated">
            <a:extLst>
              <a:ext uri="{FF2B5EF4-FFF2-40B4-BE49-F238E27FC236}">
                <a16:creationId xmlns:a16="http://schemas.microsoft.com/office/drawing/2014/main" id="{67A925F8-EBE1-4249-9A7E-7FDA35B61A6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8" name="Holder 6">
            <a:extLst>
              <a:ext uri="{FF2B5EF4-FFF2-40B4-BE49-F238E27FC236}">
                <a16:creationId xmlns:a16="http://schemas.microsoft.com/office/drawing/2014/main" id="{81AC0B4F-7AC3-D943-B8AE-E303B1AE3186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C64D398-A79C-3046-976A-2D14BB72387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4123023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641">
          <p15:clr>
            <a:srgbClr val="FBAE40"/>
          </p15:clr>
        </p15:guide>
        <p15:guide id="4" orient="horz" pos="6519">
          <p15:clr>
            <a:srgbClr val="FBAE40"/>
          </p15:clr>
        </p15:guide>
        <p15:guide id="6" pos="12284">
          <p15:clr>
            <a:srgbClr val="FBAE40"/>
          </p15:clr>
        </p15:guide>
        <p15:guide id="8" pos="380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5" orient="horz" pos="298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ES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wheel&#10;&#10;Description automatically generated">
            <a:extLst>
              <a:ext uri="{FF2B5EF4-FFF2-40B4-BE49-F238E27FC236}">
                <a16:creationId xmlns:a16="http://schemas.microsoft.com/office/drawing/2014/main" id="{1C0F1BE0-4A07-B049-8D29-D7C34331BCC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6" name="Holder 6">
            <a:extLst>
              <a:ext uri="{FF2B5EF4-FFF2-40B4-BE49-F238E27FC236}">
                <a16:creationId xmlns:a16="http://schemas.microsoft.com/office/drawing/2014/main" id="{7F736837-DE79-BC4B-90D8-BD4D8AC3695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673D6CF-4FA7-3346-8EC0-4EF729DD6F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14120323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6" pos="12284">
          <p15:clr>
            <a:srgbClr val="FBAE40"/>
          </p15:clr>
        </p15:guide>
        <p15:guide id="12" orient="horz" pos="2986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ES Blank [Gray]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15" descr="A picture containing wheel&#10;&#10;Description automatically generated">
            <a:extLst>
              <a:ext uri="{FF2B5EF4-FFF2-40B4-BE49-F238E27FC236}">
                <a16:creationId xmlns:a16="http://schemas.microsoft.com/office/drawing/2014/main" id="{1C0F1BE0-4A07-B049-8D29-D7C34331BCC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6" name="Holder 6">
            <a:extLst>
              <a:ext uri="{FF2B5EF4-FFF2-40B4-BE49-F238E27FC236}">
                <a16:creationId xmlns:a16="http://schemas.microsoft.com/office/drawing/2014/main" id="{7F736837-DE79-BC4B-90D8-BD4D8AC36957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365742" y="6326148"/>
            <a:ext cx="785382" cy="130645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849" b="1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0673D6CF-4FA7-3346-8EC0-4EF729DD6F2A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343619" y="6270776"/>
            <a:ext cx="2725739" cy="208898"/>
          </a:xfrm>
        </p:spPr>
        <p:txBody>
          <a:bodyPr anchor="b" anchorCtr="0">
            <a:normAutofit/>
          </a:bodyPr>
          <a:lstStyle>
            <a:lvl1pPr>
              <a:defRPr sz="849" b="1" i="0" cap="all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/>
              <a:t>Presentation Title</a:t>
            </a:r>
          </a:p>
        </p:txBody>
      </p:sp>
    </p:spTree>
    <p:extLst>
      <p:ext uri="{BB962C8B-B14F-4D97-AF65-F5344CB8AC3E}">
        <p14:creationId xmlns:p14="http://schemas.microsoft.com/office/powerpoint/2010/main" val="304934257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514">
          <p15:clr>
            <a:srgbClr val="FBAE40"/>
          </p15:clr>
        </p15:guide>
        <p15:guide id="6" pos="12284">
          <p15:clr>
            <a:srgbClr val="FBAE40"/>
          </p15:clr>
        </p15:guide>
        <p15:guide id="12" orient="horz" pos="2986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0 AES Internal [3 Column]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371517" y="304972"/>
            <a:ext cx="3690142" cy="307949"/>
          </a:xfrm>
        </p:spPr>
        <p:txBody>
          <a:bodyPr>
            <a:noAutofit/>
          </a:bodyPr>
          <a:lstStyle>
            <a:lvl1pPr marL="0">
              <a:spcBef>
                <a:spcPts val="0"/>
              </a:spcBef>
              <a:defRPr sz="2122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371439" y="1950352"/>
            <a:ext cx="3690219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8502A1C-BCEF-384C-9745-9D5B0FD6283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246454" y="1950352"/>
            <a:ext cx="3695917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3CF9CAE1-5FB6-6B47-8749-2507ADCE005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132864" y="1950352"/>
            <a:ext cx="3690219" cy="482875"/>
          </a:xfrm>
        </p:spPr>
        <p:txBody>
          <a:bodyPr tIns="9144">
            <a:noAutofit/>
          </a:bodyPr>
          <a:lstStyle>
            <a:lvl1pPr marL="0">
              <a:lnSpc>
                <a:spcPts val="4002"/>
              </a:lnSpc>
              <a:spcBef>
                <a:spcPts val="58"/>
              </a:spcBef>
              <a:defRPr sz="4244" kern="1200" spc="-6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pPr lvl="0"/>
            <a:r>
              <a:rPr lang="en-US"/>
              <a:t>One line title</a:t>
            </a:r>
          </a:p>
        </p:txBody>
      </p:sp>
      <p:pic>
        <p:nvPicPr>
          <p:cNvPr id="31" name="Picture 30" descr="A picture containing wheel&#10;&#10;Description automatically generated">
            <a:extLst>
              <a:ext uri="{FF2B5EF4-FFF2-40B4-BE49-F238E27FC236}">
                <a16:creationId xmlns:a16="http://schemas.microsoft.com/office/drawing/2014/main" id="{C1BE46A8-5E78-D540-B7A4-A3ABB3FA147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09505" y="6282406"/>
            <a:ext cx="510036" cy="198973"/>
          </a:xfrm>
          <a:prstGeom prst="rect">
            <a:avLst/>
          </a:prstGeom>
        </p:spPr>
      </p:pic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1385658-B7C9-D440-949B-D94D13F175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371439" y="2739196"/>
            <a:ext cx="3690219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0AEE4267-A41A-5140-83CE-41FEC571290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239447" y="2739196"/>
            <a:ext cx="3695917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62572B3-F251-1D45-8BFA-4003EE28528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8118850" y="2739196"/>
            <a:ext cx="3690220" cy="3539707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spcAft>
                <a:spcPts val="485"/>
              </a:spcAft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277200" indent="-277200">
              <a:spcBef>
                <a:spcPts val="0"/>
              </a:spcBef>
              <a:spcAft>
                <a:spcPts val="485"/>
              </a:spcAft>
              <a:buFont typeface="System Font Regular"/>
              <a:buChar char="→"/>
              <a:defRPr sz="1455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0">
              <a:spcAft>
                <a:spcPts val="485"/>
              </a:spcAft>
              <a:defRPr sz="1455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19" name="Picture 18" descr="Logo&#10;&#10;Description automatically generated">
            <a:extLst>
              <a:ext uri="{FF2B5EF4-FFF2-40B4-BE49-F238E27FC236}">
                <a16:creationId xmlns:a16="http://schemas.microsoft.com/office/drawing/2014/main" id="{E3FDC1D7-6003-4BEE-9F02-8FE1CB002BF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9592" y="6278817"/>
            <a:ext cx="968253" cy="235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7449055"/>
      </p:ext>
    </p:extLst>
  </p:cSld>
  <p:clrMapOvr>
    <a:masterClrMapping/>
  </p:clrMapOvr>
  <p:transition>
    <p:wipe/>
  </p:transition>
  <p:extLst>
    <p:ext uri="{DCECCB84-F9BA-43D5-87BE-67443E8EF086}">
      <p15:sldGuideLst xmlns:p15="http://schemas.microsoft.com/office/powerpoint/2012/main">
        <p15:guide id="4" orient="horz" pos="6519">
          <p15:clr>
            <a:srgbClr val="FBAE40"/>
          </p15:clr>
        </p15:guide>
        <p15:guide id="12" orient="horz" pos="2026">
          <p15:clr>
            <a:srgbClr val="FBAE40"/>
          </p15:clr>
        </p15:guide>
        <p15:guide id="13" orient="horz" pos="2842">
          <p15:clr>
            <a:srgbClr val="FBAE40"/>
          </p15:clr>
        </p15:guide>
        <p15:guide id="14" orient="horz" pos="1018">
          <p15:clr>
            <a:srgbClr val="FBAE40"/>
          </p15:clr>
        </p15:guide>
        <p15:guide id="17" orient="horz" pos="643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EA57179-286D-9A49-B903-36471AE34F6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39" y="5417397"/>
            <a:ext cx="11451644" cy="120767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40" y="379289"/>
            <a:ext cx="11445946" cy="513248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5544">
              <a:lnSpc>
                <a:spcPts val="19996"/>
              </a:lnSpc>
              <a:spcBef>
                <a:spcPts val="4059"/>
              </a:spcBef>
              <a:defRPr sz="19978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Large </a:t>
            </a:r>
            <a:br>
              <a:rPr lang="en-US"/>
            </a:br>
            <a:r>
              <a:rPr lang="en-US"/>
              <a:t>title</a:t>
            </a:r>
            <a:endParaRPr/>
          </a:p>
        </p:txBody>
      </p:sp>
      <p:pic>
        <p:nvPicPr>
          <p:cNvPr id="4" name="Picture 3" descr="A picture containing wheel&#10;&#10;Description automatically generated">
            <a:extLst>
              <a:ext uri="{FF2B5EF4-FFF2-40B4-BE49-F238E27FC236}">
                <a16:creationId xmlns:a16="http://schemas.microsoft.com/office/drawing/2014/main" id="{FFEF52C9-3B92-2747-AAA3-60EC8621094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064" y="5883835"/>
            <a:ext cx="1546741" cy="60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4079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BEA57179-286D-9A49-B903-36471AE34F6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39" y="5417397"/>
            <a:ext cx="11451644" cy="120767"/>
          </a:xfrm>
          <a:prstGeom prst="rect">
            <a:avLst/>
          </a:prstGeom>
        </p:spPr>
      </p:pic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371440" y="517912"/>
            <a:ext cx="11445946" cy="5132489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5544">
              <a:lnSpc>
                <a:spcPts val="10004"/>
              </a:lnSpc>
              <a:spcBef>
                <a:spcPts val="4059"/>
              </a:spcBef>
              <a:defRPr sz="10004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Medium </a:t>
            </a:r>
            <a:br>
              <a:rPr lang="en-US"/>
            </a:br>
            <a:r>
              <a:rPr lang="en-US"/>
              <a:t>title</a:t>
            </a:r>
            <a:endParaRPr/>
          </a:p>
        </p:txBody>
      </p:sp>
      <p:pic>
        <p:nvPicPr>
          <p:cNvPr id="4" name="Picture 3" descr="A picture containing wheel&#10;&#10;Description automatically generated">
            <a:extLst>
              <a:ext uri="{FF2B5EF4-FFF2-40B4-BE49-F238E27FC236}">
                <a16:creationId xmlns:a16="http://schemas.microsoft.com/office/drawing/2014/main" id="{FFEF52C9-3B92-2747-AAA3-60EC8621094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06064" y="5883835"/>
            <a:ext cx="1546741" cy="6034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12780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AES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4">
            <a:extLst>
              <a:ext uri="{FF2B5EF4-FFF2-40B4-BE49-F238E27FC236}">
                <a16:creationId xmlns:a16="http://schemas.microsoft.com/office/drawing/2014/main" id="{7D77FE0C-2B42-7E49-890F-6743794687E5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8127166" y="382600"/>
            <a:ext cx="2700715" cy="1497131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2EE2625-BEEF-7E46-B852-B0D6DBFE5A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336074" y="1990630"/>
            <a:ext cx="4845347" cy="4474758"/>
          </a:xfrm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26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7181802" y="5345312"/>
            <a:ext cx="2516129" cy="382604"/>
          </a:xfrm>
        </p:spPr>
        <p:txBody>
          <a:bodyPr tIns="0">
            <a:noAutofit/>
          </a:bodyPr>
          <a:lstStyle>
            <a:lvl1pPr marL="0">
              <a:spcBef>
                <a:spcPts val="364"/>
              </a:spcBef>
              <a:defRPr sz="1940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latin typeface="Arial" charset="0"/>
                <a:ea typeface="Arial" charset="0"/>
                <a:cs typeface="Arial" charset="0"/>
              </a:defRPr>
            </a:lvl2pPr>
            <a:lvl3pPr>
              <a:defRPr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Introductory statement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349023" y="701527"/>
            <a:ext cx="2633341" cy="648124"/>
          </a:xfrm>
        </p:spPr>
        <p:txBody>
          <a:bodyPr tIns="0">
            <a:noAutofit/>
          </a:bodyPr>
          <a:lstStyle>
            <a:lvl1pPr marL="0">
              <a:spcBef>
                <a:spcPts val="0"/>
              </a:spcBef>
              <a:defRPr sz="1940" kern="1200" spc="-6" baseline="0">
                <a:latin typeface="Arial" charset="0"/>
                <a:ea typeface="Arial" charset="0"/>
                <a:cs typeface="Arial" charset="0"/>
              </a:defRPr>
            </a:lvl1pPr>
            <a:lvl2pPr>
              <a:defRPr>
                <a:latin typeface="Arial" charset="0"/>
                <a:ea typeface="Arial" charset="0"/>
                <a:cs typeface="Arial" charset="0"/>
              </a:defRPr>
            </a:lvl2pPr>
            <a:lvl3pPr>
              <a:defRPr>
                <a:latin typeface="Arial" charset="0"/>
                <a:ea typeface="Arial" charset="0"/>
                <a:cs typeface="Arial" charset="0"/>
              </a:defRPr>
            </a:lvl3pPr>
            <a:lvl4pPr>
              <a:defRPr>
                <a:latin typeface="Arial" charset="0"/>
                <a:ea typeface="Arial" charset="0"/>
                <a:cs typeface="Arial" charset="0"/>
              </a:defRPr>
            </a:lvl4pPr>
            <a:lvl5pPr>
              <a:defRPr>
                <a:latin typeface="Arial" charset="0"/>
                <a:ea typeface="Arial" charset="0"/>
                <a:cs typeface="Arial" charset="0"/>
              </a:defRPr>
            </a:lvl5pPr>
          </a:lstStyle>
          <a:p>
            <a:pPr lvl="0"/>
            <a:r>
              <a:rPr lang="en-US"/>
              <a:t>Date</a:t>
            </a:r>
          </a:p>
          <a:p>
            <a:pPr lvl="0"/>
            <a:r>
              <a:rPr lang="en-US"/>
              <a:t>Subhead</a:t>
            </a:r>
          </a:p>
        </p:txBody>
      </p:sp>
      <p:sp>
        <p:nvSpPr>
          <p:cNvPr id="2" name="Holder 2"/>
          <p:cNvSpPr>
            <a:spLocks noGrp="1"/>
          </p:cNvSpPr>
          <p:nvPr>
            <p:ph type="ctrTitle" hasCustomPrompt="1"/>
          </p:nvPr>
        </p:nvSpPr>
        <p:spPr>
          <a:xfrm>
            <a:off x="7151599" y="2809798"/>
            <a:ext cx="3572329" cy="196901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 marL="7700" marR="3080">
              <a:lnSpc>
                <a:spcPts val="4996"/>
              </a:lnSpc>
              <a:spcBef>
                <a:spcPts val="1061"/>
              </a:spcBef>
              <a:defRPr sz="5002" b="0" i="0" kern="1200" spc="-6" baseline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pPr marL="12700" marR="5080">
              <a:lnSpc>
                <a:spcPts val="8240"/>
              </a:lnSpc>
              <a:spcBef>
                <a:spcPts val="1750"/>
              </a:spcBef>
            </a:pPr>
            <a:r>
              <a:rPr lang="en-US" sz="5002" spc="-6">
                <a:solidFill>
                  <a:srgbClr val="010202"/>
                </a:solidFill>
                <a:latin typeface="Arial"/>
                <a:cs typeface="Arial"/>
              </a:rPr>
              <a:t>Presentation Title</a:t>
            </a:r>
            <a:endParaRPr lang="en-US" sz="5002">
              <a:latin typeface="Arial"/>
              <a:cs typeface="Arial"/>
            </a:endParaRPr>
          </a:p>
        </p:txBody>
      </p:sp>
      <p:sp>
        <p:nvSpPr>
          <p:cNvPr id="9" name="Holder 6">
            <a:extLst>
              <a:ext uri="{FF2B5EF4-FFF2-40B4-BE49-F238E27FC236}">
                <a16:creationId xmlns:a16="http://schemas.microsoft.com/office/drawing/2014/main" id="{5A099B78-E026-A84A-A699-B48505E5F37E}"/>
              </a:ext>
            </a:extLst>
          </p:cNvPr>
          <p:cNvSpPr>
            <a:spLocks noGrp="1"/>
          </p:cNvSpPr>
          <p:nvPr>
            <p:ph type="sldNum" sz="quarter" idx="7"/>
          </p:nvPr>
        </p:nvSpPr>
        <p:spPr>
          <a:xfrm>
            <a:off x="11650991" y="382600"/>
            <a:ext cx="172092" cy="9331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algn="r">
              <a:defRPr sz="606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B6F15528-21DE-4FAA-801E-634DDDAF4B2B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9096D72-14E6-8047-8A10-918A2F0D0B0B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1440" y="1874186"/>
            <a:ext cx="11481365" cy="1210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55207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538">
          <p15:clr>
            <a:srgbClr val="FBAE40"/>
          </p15:clr>
        </p15:guide>
        <p15:guide id="4" orient="horz" pos="6106">
          <p15:clr>
            <a:srgbClr val="FBAE40"/>
          </p15:clr>
        </p15:guide>
        <p15:guide id="9" pos="6428">
          <p15:clr>
            <a:srgbClr val="FBAE40"/>
          </p15:clr>
        </p15:guide>
        <p15:guide id="10" pos="8444">
          <p15:clr>
            <a:srgbClr val="FBAE40"/>
          </p15:clr>
        </p15:guide>
        <p15:guide id="12" orient="horz" pos="2938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13" Type="http://schemas.openxmlformats.org/officeDocument/2006/relationships/slideLayout" Target="../slideLayouts/slideLayout45.xml"/><Relationship Id="rId18" Type="http://schemas.openxmlformats.org/officeDocument/2006/relationships/slideLayout" Target="../slideLayouts/slideLayout50.xml"/><Relationship Id="rId26" Type="http://schemas.openxmlformats.org/officeDocument/2006/relationships/slideLayout" Target="../slideLayouts/slideLayout58.xml"/><Relationship Id="rId3" Type="http://schemas.openxmlformats.org/officeDocument/2006/relationships/slideLayout" Target="../slideLayouts/slideLayout35.xml"/><Relationship Id="rId21" Type="http://schemas.openxmlformats.org/officeDocument/2006/relationships/slideLayout" Target="../slideLayouts/slideLayout53.xml"/><Relationship Id="rId34" Type="http://schemas.openxmlformats.org/officeDocument/2006/relationships/tags" Target="../tags/tag15.xml"/><Relationship Id="rId7" Type="http://schemas.openxmlformats.org/officeDocument/2006/relationships/slideLayout" Target="../slideLayouts/slideLayout39.xml"/><Relationship Id="rId12" Type="http://schemas.openxmlformats.org/officeDocument/2006/relationships/slideLayout" Target="../slideLayouts/slideLayout44.xml"/><Relationship Id="rId17" Type="http://schemas.openxmlformats.org/officeDocument/2006/relationships/slideLayout" Target="../slideLayouts/slideLayout49.xml"/><Relationship Id="rId25" Type="http://schemas.openxmlformats.org/officeDocument/2006/relationships/slideLayout" Target="../slideLayouts/slideLayout57.xml"/><Relationship Id="rId33" Type="http://schemas.openxmlformats.org/officeDocument/2006/relationships/theme" Target="../theme/theme2.xml"/><Relationship Id="rId2" Type="http://schemas.openxmlformats.org/officeDocument/2006/relationships/slideLayout" Target="../slideLayouts/slideLayout34.xml"/><Relationship Id="rId16" Type="http://schemas.openxmlformats.org/officeDocument/2006/relationships/slideLayout" Target="../slideLayouts/slideLayout48.xml"/><Relationship Id="rId20" Type="http://schemas.openxmlformats.org/officeDocument/2006/relationships/slideLayout" Target="../slideLayouts/slideLayout52.xml"/><Relationship Id="rId29" Type="http://schemas.openxmlformats.org/officeDocument/2006/relationships/slideLayout" Target="../slideLayouts/slideLayout61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24" Type="http://schemas.openxmlformats.org/officeDocument/2006/relationships/slideLayout" Target="../slideLayouts/slideLayout56.xml"/><Relationship Id="rId32" Type="http://schemas.openxmlformats.org/officeDocument/2006/relationships/slideLayout" Target="../slideLayouts/slideLayout64.xml"/><Relationship Id="rId5" Type="http://schemas.openxmlformats.org/officeDocument/2006/relationships/slideLayout" Target="../slideLayouts/slideLayout37.xml"/><Relationship Id="rId15" Type="http://schemas.openxmlformats.org/officeDocument/2006/relationships/slideLayout" Target="../slideLayouts/slideLayout47.xml"/><Relationship Id="rId23" Type="http://schemas.openxmlformats.org/officeDocument/2006/relationships/slideLayout" Target="../slideLayouts/slideLayout55.xml"/><Relationship Id="rId28" Type="http://schemas.openxmlformats.org/officeDocument/2006/relationships/slideLayout" Target="../slideLayouts/slideLayout60.xml"/><Relationship Id="rId36" Type="http://schemas.openxmlformats.org/officeDocument/2006/relationships/image" Target="../media/image1.emf"/><Relationship Id="rId10" Type="http://schemas.openxmlformats.org/officeDocument/2006/relationships/slideLayout" Target="../slideLayouts/slideLayout42.xml"/><Relationship Id="rId19" Type="http://schemas.openxmlformats.org/officeDocument/2006/relationships/slideLayout" Target="../slideLayouts/slideLayout51.xml"/><Relationship Id="rId31" Type="http://schemas.openxmlformats.org/officeDocument/2006/relationships/slideLayout" Target="../slideLayouts/slideLayout63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Relationship Id="rId14" Type="http://schemas.openxmlformats.org/officeDocument/2006/relationships/slideLayout" Target="../slideLayouts/slideLayout46.xml"/><Relationship Id="rId22" Type="http://schemas.openxmlformats.org/officeDocument/2006/relationships/slideLayout" Target="../slideLayouts/slideLayout54.xml"/><Relationship Id="rId27" Type="http://schemas.openxmlformats.org/officeDocument/2006/relationships/slideLayout" Target="../slideLayouts/slideLayout59.xml"/><Relationship Id="rId30" Type="http://schemas.openxmlformats.org/officeDocument/2006/relationships/slideLayout" Target="../slideLayouts/slideLayout62.xml"/><Relationship Id="rId35" Type="http://schemas.openxmlformats.org/officeDocument/2006/relationships/oleObject" Target="../embeddings/oleObject14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slideLayout" Target="../slideLayouts/slideLayout77.xml"/><Relationship Id="rId18" Type="http://schemas.openxmlformats.org/officeDocument/2006/relationships/slideLayout" Target="../slideLayouts/slideLayout82.xml"/><Relationship Id="rId26" Type="http://schemas.openxmlformats.org/officeDocument/2006/relationships/slideLayout" Target="../slideLayouts/slideLayout90.xml"/><Relationship Id="rId3" Type="http://schemas.openxmlformats.org/officeDocument/2006/relationships/slideLayout" Target="../slideLayouts/slideLayout67.xml"/><Relationship Id="rId21" Type="http://schemas.openxmlformats.org/officeDocument/2006/relationships/slideLayout" Target="../slideLayouts/slideLayout85.xml"/><Relationship Id="rId34" Type="http://schemas.openxmlformats.org/officeDocument/2006/relationships/tags" Target="../tags/tag28.xml"/><Relationship Id="rId7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76.xml"/><Relationship Id="rId17" Type="http://schemas.openxmlformats.org/officeDocument/2006/relationships/slideLayout" Target="../slideLayouts/slideLayout81.xml"/><Relationship Id="rId25" Type="http://schemas.openxmlformats.org/officeDocument/2006/relationships/slideLayout" Target="../slideLayouts/slideLayout89.xml"/><Relationship Id="rId33" Type="http://schemas.openxmlformats.org/officeDocument/2006/relationships/theme" Target="../theme/theme3.xml"/><Relationship Id="rId2" Type="http://schemas.openxmlformats.org/officeDocument/2006/relationships/slideLayout" Target="../slideLayouts/slideLayout66.xml"/><Relationship Id="rId16" Type="http://schemas.openxmlformats.org/officeDocument/2006/relationships/slideLayout" Target="../slideLayouts/slideLayout80.xml"/><Relationship Id="rId20" Type="http://schemas.openxmlformats.org/officeDocument/2006/relationships/slideLayout" Target="../slideLayouts/slideLayout84.xml"/><Relationship Id="rId29" Type="http://schemas.openxmlformats.org/officeDocument/2006/relationships/slideLayout" Target="../slideLayouts/slideLayout93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24" Type="http://schemas.openxmlformats.org/officeDocument/2006/relationships/slideLayout" Target="../slideLayouts/slideLayout88.xml"/><Relationship Id="rId32" Type="http://schemas.openxmlformats.org/officeDocument/2006/relationships/slideLayout" Target="../slideLayouts/slideLayout96.xml"/><Relationship Id="rId5" Type="http://schemas.openxmlformats.org/officeDocument/2006/relationships/slideLayout" Target="../slideLayouts/slideLayout69.xml"/><Relationship Id="rId15" Type="http://schemas.openxmlformats.org/officeDocument/2006/relationships/slideLayout" Target="../slideLayouts/slideLayout79.xml"/><Relationship Id="rId23" Type="http://schemas.openxmlformats.org/officeDocument/2006/relationships/slideLayout" Target="../slideLayouts/slideLayout87.xml"/><Relationship Id="rId28" Type="http://schemas.openxmlformats.org/officeDocument/2006/relationships/slideLayout" Target="../slideLayouts/slideLayout92.xml"/><Relationship Id="rId36" Type="http://schemas.openxmlformats.org/officeDocument/2006/relationships/image" Target="../media/image29.emf"/><Relationship Id="rId10" Type="http://schemas.openxmlformats.org/officeDocument/2006/relationships/slideLayout" Target="../slideLayouts/slideLayout74.xml"/><Relationship Id="rId19" Type="http://schemas.openxmlformats.org/officeDocument/2006/relationships/slideLayout" Target="../slideLayouts/slideLayout83.xml"/><Relationship Id="rId31" Type="http://schemas.openxmlformats.org/officeDocument/2006/relationships/slideLayout" Target="../slideLayouts/slideLayout95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slideLayout" Target="../slideLayouts/slideLayout78.xml"/><Relationship Id="rId22" Type="http://schemas.openxmlformats.org/officeDocument/2006/relationships/slideLayout" Target="../slideLayouts/slideLayout86.xml"/><Relationship Id="rId27" Type="http://schemas.openxmlformats.org/officeDocument/2006/relationships/slideLayout" Target="../slideLayouts/slideLayout91.xml"/><Relationship Id="rId30" Type="http://schemas.openxmlformats.org/officeDocument/2006/relationships/slideLayout" Target="../slideLayouts/slideLayout94.xml"/><Relationship Id="rId35" Type="http://schemas.openxmlformats.org/officeDocument/2006/relationships/oleObject" Target="../embeddings/oleObject27.bin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4.xml"/><Relationship Id="rId13" Type="http://schemas.openxmlformats.org/officeDocument/2006/relationships/slideLayout" Target="../slideLayouts/slideLayout109.xml"/><Relationship Id="rId18" Type="http://schemas.openxmlformats.org/officeDocument/2006/relationships/slideLayout" Target="../slideLayouts/slideLayout114.xml"/><Relationship Id="rId26" Type="http://schemas.openxmlformats.org/officeDocument/2006/relationships/slideLayout" Target="../slideLayouts/slideLayout122.xml"/><Relationship Id="rId3" Type="http://schemas.openxmlformats.org/officeDocument/2006/relationships/slideLayout" Target="../slideLayouts/slideLayout99.xml"/><Relationship Id="rId21" Type="http://schemas.openxmlformats.org/officeDocument/2006/relationships/slideLayout" Target="../slideLayouts/slideLayout117.xml"/><Relationship Id="rId34" Type="http://schemas.openxmlformats.org/officeDocument/2006/relationships/tags" Target="../tags/tag29.xml"/><Relationship Id="rId7" Type="http://schemas.openxmlformats.org/officeDocument/2006/relationships/slideLayout" Target="../slideLayouts/slideLayout103.xml"/><Relationship Id="rId12" Type="http://schemas.openxmlformats.org/officeDocument/2006/relationships/slideLayout" Target="../slideLayouts/slideLayout108.xml"/><Relationship Id="rId17" Type="http://schemas.openxmlformats.org/officeDocument/2006/relationships/slideLayout" Target="../slideLayouts/slideLayout113.xml"/><Relationship Id="rId25" Type="http://schemas.openxmlformats.org/officeDocument/2006/relationships/slideLayout" Target="../slideLayouts/slideLayout121.xml"/><Relationship Id="rId33" Type="http://schemas.openxmlformats.org/officeDocument/2006/relationships/theme" Target="../theme/theme4.xml"/><Relationship Id="rId2" Type="http://schemas.openxmlformats.org/officeDocument/2006/relationships/slideLayout" Target="../slideLayouts/slideLayout98.xml"/><Relationship Id="rId16" Type="http://schemas.openxmlformats.org/officeDocument/2006/relationships/slideLayout" Target="../slideLayouts/slideLayout112.xml"/><Relationship Id="rId20" Type="http://schemas.openxmlformats.org/officeDocument/2006/relationships/slideLayout" Target="../slideLayouts/slideLayout116.xml"/><Relationship Id="rId29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97.xml"/><Relationship Id="rId6" Type="http://schemas.openxmlformats.org/officeDocument/2006/relationships/slideLayout" Target="../slideLayouts/slideLayout102.xml"/><Relationship Id="rId11" Type="http://schemas.openxmlformats.org/officeDocument/2006/relationships/slideLayout" Target="../slideLayouts/slideLayout107.xml"/><Relationship Id="rId24" Type="http://schemas.openxmlformats.org/officeDocument/2006/relationships/slideLayout" Target="../slideLayouts/slideLayout120.xml"/><Relationship Id="rId32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01.xml"/><Relationship Id="rId15" Type="http://schemas.openxmlformats.org/officeDocument/2006/relationships/slideLayout" Target="../slideLayouts/slideLayout111.xml"/><Relationship Id="rId23" Type="http://schemas.openxmlformats.org/officeDocument/2006/relationships/slideLayout" Target="../slideLayouts/slideLayout119.xml"/><Relationship Id="rId28" Type="http://schemas.openxmlformats.org/officeDocument/2006/relationships/slideLayout" Target="../slideLayouts/slideLayout124.xml"/><Relationship Id="rId36" Type="http://schemas.openxmlformats.org/officeDocument/2006/relationships/image" Target="../media/image29.emf"/><Relationship Id="rId10" Type="http://schemas.openxmlformats.org/officeDocument/2006/relationships/slideLayout" Target="../slideLayouts/slideLayout106.xml"/><Relationship Id="rId19" Type="http://schemas.openxmlformats.org/officeDocument/2006/relationships/slideLayout" Target="../slideLayouts/slideLayout115.xml"/><Relationship Id="rId31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00.xml"/><Relationship Id="rId9" Type="http://schemas.openxmlformats.org/officeDocument/2006/relationships/slideLayout" Target="../slideLayouts/slideLayout105.xml"/><Relationship Id="rId14" Type="http://schemas.openxmlformats.org/officeDocument/2006/relationships/slideLayout" Target="../slideLayouts/slideLayout110.xml"/><Relationship Id="rId22" Type="http://schemas.openxmlformats.org/officeDocument/2006/relationships/slideLayout" Target="../slideLayouts/slideLayout118.xml"/><Relationship Id="rId27" Type="http://schemas.openxmlformats.org/officeDocument/2006/relationships/slideLayout" Target="../slideLayouts/slideLayout123.xml"/><Relationship Id="rId30" Type="http://schemas.openxmlformats.org/officeDocument/2006/relationships/slideLayout" Target="../slideLayouts/slideLayout126.xml"/><Relationship Id="rId35" Type="http://schemas.openxmlformats.org/officeDocument/2006/relationships/oleObject" Target="../embeddings/oleObject27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slideLayout" Target="../slideLayouts/slideLayout141.xml"/><Relationship Id="rId18" Type="http://schemas.openxmlformats.org/officeDocument/2006/relationships/slideLayout" Target="../slideLayouts/slideLayout146.xml"/><Relationship Id="rId26" Type="http://schemas.openxmlformats.org/officeDocument/2006/relationships/slideLayout" Target="../slideLayouts/slideLayout154.xml"/><Relationship Id="rId3" Type="http://schemas.openxmlformats.org/officeDocument/2006/relationships/slideLayout" Target="../slideLayouts/slideLayout131.xml"/><Relationship Id="rId21" Type="http://schemas.openxmlformats.org/officeDocument/2006/relationships/slideLayout" Target="../slideLayouts/slideLayout149.xml"/><Relationship Id="rId34" Type="http://schemas.openxmlformats.org/officeDocument/2006/relationships/theme" Target="../theme/theme5.x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slideLayout" Target="../slideLayouts/slideLayout145.xml"/><Relationship Id="rId25" Type="http://schemas.openxmlformats.org/officeDocument/2006/relationships/slideLayout" Target="../slideLayouts/slideLayout153.xml"/><Relationship Id="rId33" Type="http://schemas.openxmlformats.org/officeDocument/2006/relationships/slideLayout" Target="../slideLayouts/slideLayout161.xml"/><Relationship Id="rId2" Type="http://schemas.openxmlformats.org/officeDocument/2006/relationships/slideLayout" Target="../slideLayouts/slideLayout130.xml"/><Relationship Id="rId16" Type="http://schemas.openxmlformats.org/officeDocument/2006/relationships/slideLayout" Target="../slideLayouts/slideLayout144.xml"/><Relationship Id="rId20" Type="http://schemas.openxmlformats.org/officeDocument/2006/relationships/slideLayout" Target="../slideLayouts/slideLayout148.xml"/><Relationship Id="rId29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24" Type="http://schemas.openxmlformats.org/officeDocument/2006/relationships/slideLayout" Target="../slideLayouts/slideLayout152.xml"/><Relationship Id="rId32" Type="http://schemas.openxmlformats.org/officeDocument/2006/relationships/slideLayout" Target="../slideLayouts/slideLayout160.xml"/><Relationship Id="rId37" Type="http://schemas.openxmlformats.org/officeDocument/2006/relationships/image" Target="../media/image29.emf"/><Relationship Id="rId5" Type="http://schemas.openxmlformats.org/officeDocument/2006/relationships/slideLayout" Target="../slideLayouts/slideLayout133.xml"/><Relationship Id="rId15" Type="http://schemas.openxmlformats.org/officeDocument/2006/relationships/slideLayout" Target="../slideLayouts/slideLayout143.xml"/><Relationship Id="rId23" Type="http://schemas.openxmlformats.org/officeDocument/2006/relationships/slideLayout" Target="../slideLayouts/slideLayout151.xml"/><Relationship Id="rId28" Type="http://schemas.openxmlformats.org/officeDocument/2006/relationships/slideLayout" Target="../slideLayouts/slideLayout156.xml"/><Relationship Id="rId36" Type="http://schemas.openxmlformats.org/officeDocument/2006/relationships/oleObject" Target="../embeddings/oleObject27.bin"/><Relationship Id="rId10" Type="http://schemas.openxmlformats.org/officeDocument/2006/relationships/slideLayout" Target="../slideLayouts/slideLayout138.xml"/><Relationship Id="rId19" Type="http://schemas.openxmlformats.org/officeDocument/2006/relationships/slideLayout" Target="../slideLayouts/slideLayout147.xml"/><Relationship Id="rId31" Type="http://schemas.openxmlformats.org/officeDocument/2006/relationships/slideLayout" Target="../slideLayouts/slideLayout159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slideLayout" Target="../slideLayouts/slideLayout142.xml"/><Relationship Id="rId22" Type="http://schemas.openxmlformats.org/officeDocument/2006/relationships/slideLayout" Target="../slideLayouts/slideLayout150.xml"/><Relationship Id="rId27" Type="http://schemas.openxmlformats.org/officeDocument/2006/relationships/slideLayout" Target="../slideLayouts/slideLayout155.xml"/><Relationship Id="rId30" Type="http://schemas.openxmlformats.org/officeDocument/2006/relationships/slideLayout" Target="../slideLayouts/slideLayout158.xml"/><Relationship Id="rId35" Type="http://schemas.openxmlformats.org/officeDocument/2006/relationships/tags" Target="../tags/tag30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9.xml"/><Relationship Id="rId13" Type="http://schemas.openxmlformats.org/officeDocument/2006/relationships/slideLayout" Target="../slideLayouts/slideLayout174.xml"/><Relationship Id="rId18" Type="http://schemas.openxmlformats.org/officeDocument/2006/relationships/slideLayout" Target="../slideLayouts/slideLayout179.xml"/><Relationship Id="rId26" Type="http://schemas.openxmlformats.org/officeDocument/2006/relationships/slideLayout" Target="../slideLayouts/slideLayout187.xml"/><Relationship Id="rId3" Type="http://schemas.openxmlformats.org/officeDocument/2006/relationships/slideLayout" Target="../slideLayouts/slideLayout164.xml"/><Relationship Id="rId21" Type="http://schemas.openxmlformats.org/officeDocument/2006/relationships/slideLayout" Target="../slideLayouts/slideLayout182.xml"/><Relationship Id="rId34" Type="http://schemas.openxmlformats.org/officeDocument/2006/relationships/tags" Target="../tags/tag31.xml"/><Relationship Id="rId7" Type="http://schemas.openxmlformats.org/officeDocument/2006/relationships/slideLayout" Target="../slideLayouts/slideLayout168.xml"/><Relationship Id="rId12" Type="http://schemas.openxmlformats.org/officeDocument/2006/relationships/slideLayout" Target="../slideLayouts/slideLayout173.xml"/><Relationship Id="rId17" Type="http://schemas.openxmlformats.org/officeDocument/2006/relationships/slideLayout" Target="../slideLayouts/slideLayout178.xml"/><Relationship Id="rId25" Type="http://schemas.openxmlformats.org/officeDocument/2006/relationships/slideLayout" Target="../slideLayouts/slideLayout186.xml"/><Relationship Id="rId33" Type="http://schemas.openxmlformats.org/officeDocument/2006/relationships/theme" Target="../theme/theme6.xml"/><Relationship Id="rId2" Type="http://schemas.openxmlformats.org/officeDocument/2006/relationships/slideLayout" Target="../slideLayouts/slideLayout163.xml"/><Relationship Id="rId16" Type="http://schemas.openxmlformats.org/officeDocument/2006/relationships/slideLayout" Target="../slideLayouts/slideLayout177.xml"/><Relationship Id="rId20" Type="http://schemas.openxmlformats.org/officeDocument/2006/relationships/slideLayout" Target="../slideLayouts/slideLayout181.xml"/><Relationship Id="rId29" Type="http://schemas.openxmlformats.org/officeDocument/2006/relationships/slideLayout" Target="../slideLayouts/slideLayout190.xml"/><Relationship Id="rId1" Type="http://schemas.openxmlformats.org/officeDocument/2006/relationships/slideLayout" Target="../slideLayouts/slideLayout162.xml"/><Relationship Id="rId6" Type="http://schemas.openxmlformats.org/officeDocument/2006/relationships/slideLayout" Target="../slideLayouts/slideLayout167.xml"/><Relationship Id="rId11" Type="http://schemas.openxmlformats.org/officeDocument/2006/relationships/slideLayout" Target="../slideLayouts/slideLayout172.xml"/><Relationship Id="rId24" Type="http://schemas.openxmlformats.org/officeDocument/2006/relationships/slideLayout" Target="../slideLayouts/slideLayout185.xml"/><Relationship Id="rId32" Type="http://schemas.openxmlformats.org/officeDocument/2006/relationships/slideLayout" Target="../slideLayouts/slideLayout193.xml"/><Relationship Id="rId5" Type="http://schemas.openxmlformats.org/officeDocument/2006/relationships/slideLayout" Target="../slideLayouts/slideLayout166.xml"/><Relationship Id="rId15" Type="http://schemas.openxmlformats.org/officeDocument/2006/relationships/slideLayout" Target="../slideLayouts/slideLayout176.xml"/><Relationship Id="rId23" Type="http://schemas.openxmlformats.org/officeDocument/2006/relationships/slideLayout" Target="../slideLayouts/slideLayout184.xml"/><Relationship Id="rId28" Type="http://schemas.openxmlformats.org/officeDocument/2006/relationships/slideLayout" Target="../slideLayouts/slideLayout189.xml"/><Relationship Id="rId36" Type="http://schemas.openxmlformats.org/officeDocument/2006/relationships/image" Target="../media/image29.emf"/><Relationship Id="rId10" Type="http://schemas.openxmlformats.org/officeDocument/2006/relationships/slideLayout" Target="../slideLayouts/slideLayout171.xml"/><Relationship Id="rId19" Type="http://schemas.openxmlformats.org/officeDocument/2006/relationships/slideLayout" Target="../slideLayouts/slideLayout180.xml"/><Relationship Id="rId31" Type="http://schemas.openxmlformats.org/officeDocument/2006/relationships/slideLayout" Target="../slideLayouts/slideLayout192.xml"/><Relationship Id="rId4" Type="http://schemas.openxmlformats.org/officeDocument/2006/relationships/slideLayout" Target="../slideLayouts/slideLayout165.xml"/><Relationship Id="rId9" Type="http://schemas.openxmlformats.org/officeDocument/2006/relationships/slideLayout" Target="../slideLayouts/slideLayout170.xml"/><Relationship Id="rId14" Type="http://schemas.openxmlformats.org/officeDocument/2006/relationships/slideLayout" Target="../slideLayouts/slideLayout175.xml"/><Relationship Id="rId22" Type="http://schemas.openxmlformats.org/officeDocument/2006/relationships/slideLayout" Target="../slideLayouts/slideLayout183.xml"/><Relationship Id="rId27" Type="http://schemas.openxmlformats.org/officeDocument/2006/relationships/slideLayout" Target="../slideLayouts/slideLayout188.xml"/><Relationship Id="rId30" Type="http://schemas.openxmlformats.org/officeDocument/2006/relationships/slideLayout" Target="../slideLayouts/slideLayout191.xml"/><Relationship Id="rId35" Type="http://schemas.openxmlformats.org/officeDocument/2006/relationships/oleObject" Target="../embeddings/oleObject27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1.xml"/><Relationship Id="rId13" Type="http://schemas.openxmlformats.org/officeDocument/2006/relationships/slideLayout" Target="../slideLayouts/slideLayout206.xml"/><Relationship Id="rId18" Type="http://schemas.openxmlformats.org/officeDocument/2006/relationships/slideLayout" Target="../slideLayouts/slideLayout211.xml"/><Relationship Id="rId26" Type="http://schemas.openxmlformats.org/officeDocument/2006/relationships/slideLayout" Target="../slideLayouts/slideLayout219.xml"/><Relationship Id="rId3" Type="http://schemas.openxmlformats.org/officeDocument/2006/relationships/slideLayout" Target="../slideLayouts/slideLayout196.xml"/><Relationship Id="rId21" Type="http://schemas.openxmlformats.org/officeDocument/2006/relationships/slideLayout" Target="../slideLayouts/slideLayout214.xml"/><Relationship Id="rId7" Type="http://schemas.openxmlformats.org/officeDocument/2006/relationships/slideLayout" Target="../slideLayouts/slideLayout200.xml"/><Relationship Id="rId12" Type="http://schemas.openxmlformats.org/officeDocument/2006/relationships/slideLayout" Target="../slideLayouts/slideLayout205.xml"/><Relationship Id="rId17" Type="http://schemas.openxmlformats.org/officeDocument/2006/relationships/slideLayout" Target="../slideLayouts/slideLayout210.xml"/><Relationship Id="rId25" Type="http://schemas.openxmlformats.org/officeDocument/2006/relationships/slideLayout" Target="../slideLayouts/slideLayout218.xml"/><Relationship Id="rId33" Type="http://schemas.openxmlformats.org/officeDocument/2006/relationships/theme" Target="../theme/theme7.xml"/><Relationship Id="rId2" Type="http://schemas.openxmlformats.org/officeDocument/2006/relationships/slideLayout" Target="../slideLayouts/slideLayout195.xml"/><Relationship Id="rId16" Type="http://schemas.openxmlformats.org/officeDocument/2006/relationships/slideLayout" Target="../slideLayouts/slideLayout209.xml"/><Relationship Id="rId20" Type="http://schemas.openxmlformats.org/officeDocument/2006/relationships/slideLayout" Target="../slideLayouts/slideLayout213.xml"/><Relationship Id="rId29" Type="http://schemas.openxmlformats.org/officeDocument/2006/relationships/slideLayout" Target="../slideLayouts/slideLayout222.xml"/><Relationship Id="rId1" Type="http://schemas.openxmlformats.org/officeDocument/2006/relationships/slideLayout" Target="../slideLayouts/slideLayout194.xml"/><Relationship Id="rId6" Type="http://schemas.openxmlformats.org/officeDocument/2006/relationships/slideLayout" Target="../slideLayouts/slideLayout199.xml"/><Relationship Id="rId11" Type="http://schemas.openxmlformats.org/officeDocument/2006/relationships/slideLayout" Target="../slideLayouts/slideLayout204.xml"/><Relationship Id="rId24" Type="http://schemas.openxmlformats.org/officeDocument/2006/relationships/slideLayout" Target="../slideLayouts/slideLayout217.xml"/><Relationship Id="rId32" Type="http://schemas.openxmlformats.org/officeDocument/2006/relationships/slideLayout" Target="../slideLayouts/slideLayout225.xml"/><Relationship Id="rId5" Type="http://schemas.openxmlformats.org/officeDocument/2006/relationships/slideLayout" Target="../slideLayouts/slideLayout198.xml"/><Relationship Id="rId15" Type="http://schemas.openxmlformats.org/officeDocument/2006/relationships/slideLayout" Target="../slideLayouts/slideLayout208.xml"/><Relationship Id="rId23" Type="http://schemas.openxmlformats.org/officeDocument/2006/relationships/slideLayout" Target="../slideLayouts/slideLayout216.xml"/><Relationship Id="rId28" Type="http://schemas.openxmlformats.org/officeDocument/2006/relationships/slideLayout" Target="../slideLayouts/slideLayout221.xml"/><Relationship Id="rId10" Type="http://schemas.openxmlformats.org/officeDocument/2006/relationships/slideLayout" Target="../slideLayouts/slideLayout203.xml"/><Relationship Id="rId19" Type="http://schemas.openxmlformats.org/officeDocument/2006/relationships/slideLayout" Target="../slideLayouts/slideLayout212.xml"/><Relationship Id="rId31" Type="http://schemas.openxmlformats.org/officeDocument/2006/relationships/slideLayout" Target="../slideLayouts/slideLayout224.xml"/><Relationship Id="rId4" Type="http://schemas.openxmlformats.org/officeDocument/2006/relationships/slideLayout" Target="../slideLayouts/slideLayout197.xml"/><Relationship Id="rId9" Type="http://schemas.openxmlformats.org/officeDocument/2006/relationships/slideLayout" Target="../slideLayouts/slideLayout202.xml"/><Relationship Id="rId14" Type="http://schemas.openxmlformats.org/officeDocument/2006/relationships/slideLayout" Target="../slideLayouts/slideLayout207.xml"/><Relationship Id="rId22" Type="http://schemas.openxmlformats.org/officeDocument/2006/relationships/slideLayout" Target="../slideLayouts/slideLayout215.xml"/><Relationship Id="rId27" Type="http://schemas.openxmlformats.org/officeDocument/2006/relationships/slideLayout" Target="../slideLayouts/slideLayout220.xml"/><Relationship Id="rId30" Type="http://schemas.openxmlformats.org/officeDocument/2006/relationships/slideLayout" Target="../slideLayouts/slideLayout22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41664346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99" imgH="499" progId="TCLayout.ActiveDocument.1">
                  <p:embed/>
                </p:oleObj>
              </mc:Choice>
              <mc:Fallback>
                <p:oleObj name="think-cell Slide" r:id="rId35" imgW="499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5854122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54" r:id="rId2"/>
    <p:sldLayoutId id="2147484047" r:id="rId3"/>
    <p:sldLayoutId id="2147483860" r:id="rId4"/>
    <p:sldLayoutId id="2147484049" r:id="rId5"/>
    <p:sldLayoutId id="2147484052" r:id="rId6"/>
    <p:sldLayoutId id="2147484053" r:id="rId7"/>
    <p:sldLayoutId id="2147484054" r:id="rId8"/>
    <p:sldLayoutId id="2147484055" r:id="rId9"/>
    <p:sldLayoutId id="2147484056" r:id="rId10"/>
    <p:sldLayoutId id="2147484057" r:id="rId11"/>
    <p:sldLayoutId id="2147484058" r:id="rId12"/>
    <p:sldLayoutId id="2147484059" r:id="rId13"/>
    <p:sldLayoutId id="2147484060" r:id="rId14"/>
    <p:sldLayoutId id="2147484061" r:id="rId15"/>
    <p:sldLayoutId id="2147484062" r:id="rId16"/>
    <p:sldLayoutId id="2147484063" r:id="rId17"/>
    <p:sldLayoutId id="2147484066" r:id="rId18"/>
    <p:sldLayoutId id="2147484067" r:id="rId19"/>
    <p:sldLayoutId id="2147484068" r:id="rId20"/>
    <p:sldLayoutId id="2147484048" r:id="rId21"/>
    <p:sldLayoutId id="2147484069" r:id="rId22"/>
    <p:sldLayoutId id="2147484070" r:id="rId23"/>
    <p:sldLayoutId id="2147484071" r:id="rId24"/>
    <p:sldLayoutId id="2147484072" r:id="rId25"/>
    <p:sldLayoutId id="2147484073" r:id="rId26"/>
    <p:sldLayoutId id="2147484074" r:id="rId27"/>
    <p:sldLayoutId id="2147484075" r:id="rId28"/>
    <p:sldLayoutId id="2147484076" r:id="rId29"/>
    <p:sldLayoutId id="2147484077" r:id="rId30"/>
    <p:sldLayoutId id="2147484078" r:id="rId31"/>
    <p:sldLayoutId id="2147484079" r:id="rId3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ts val="0"/>
        </a:spcBef>
        <a:buNone/>
        <a:defRPr sz="2800" b="0" kern="1200">
          <a:solidFill>
            <a:srgbClr val="0078AE"/>
          </a:solidFill>
          <a:latin typeface="+mj-lt"/>
          <a:ea typeface="+mj-ea"/>
          <a:cs typeface="+mj-cs"/>
        </a:defRPr>
      </a:lvl1pPr>
    </p:titleStyle>
    <p:bodyStyle>
      <a:lvl1pPr marL="287338" marR="0" indent="-287338" algn="l" defTabSz="914400" rtl="0" eaLnBrk="0" fontAlgn="base" latinLnBrk="0" hangingPunct="0">
        <a:lnSpc>
          <a:spcPct val="90000"/>
        </a:lnSpc>
        <a:spcBef>
          <a:spcPts val="2400"/>
        </a:spcBef>
        <a:spcAft>
          <a:spcPct val="0"/>
        </a:spcAft>
        <a:buClr>
          <a:srgbClr val="0078AE"/>
        </a:buClr>
        <a:buSzPct val="90000"/>
        <a:buFont typeface="Wingdings" pitchFamily="2" charset="2"/>
        <a:buChar char="l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marR="0" indent="-271463" algn="l" defTabSz="914400" rtl="0" eaLnBrk="0" fontAlgn="base" latinLnBrk="0" hangingPunct="0">
        <a:lnSpc>
          <a:spcPct val="90000"/>
        </a:lnSpc>
        <a:spcBef>
          <a:spcPts val="1200"/>
        </a:spcBef>
        <a:spcAft>
          <a:spcPct val="0"/>
        </a:spcAft>
        <a:buClr>
          <a:srgbClr val="0078AE"/>
        </a:buClr>
        <a:buSzPct val="90000"/>
        <a:buFont typeface="Wingdings 3" pitchFamily="18" charset="2"/>
        <a:buChar char="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1688" marR="0" indent="-188913" algn="l" defTabSz="973138" rtl="0" eaLnBrk="0" fontAlgn="base" latinLnBrk="0" hangingPunct="0">
        <a:lnSpc>
          <a:spcPct val="90000"/>
        </a:lnSpc>
        <a:spcBef>
          <a:spcPts val="600"/>
        </a:spcBef>
        <a:spcAft>
          <a:spcPct val="0"/>
        </a:spcAft>
        <a:buClr>
          <a:srgbClr val="0078AE"/>
        </a:buClr>
        <a:buSzPct val="105000"/>
        <a:buFont typeface="Wingdings" pitchFamily="2" charset="2"/>
        <a:buChar char="w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9025" marR="0" indent="-207963" algn="l" defTabSz="914400" rtl="0" eaLnBrk="0" fontAlgn="base" latinLnBrk="0" hangingPunct="0">
        <a:lnSpc>
          <a:spcPct val="90000"/>
        </a:lnSpc>
        <a:spcBef>
          <a:spcPts val="300"/>
        </a:spcBef>
        <a:spcAft>
          <a:spcPct val="0"/>
        </a:spcAft>
        <a:buClr>
          <a:srgbClr val="0078AE"/>
        </a:buClr>
        <a:buSzPct val="95000"/>
        <a:buFont typeface="Arial" pitchFamily="34" charset="0"/>
        <a:buChar char="●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366838" marR="0" indent="-179388" algn="l" defTabSz="914400" rtl="0" eaLnBrk="0" fontAlgn="base" latinLnBrk="0" hangingPunct="0">
        <a:lnSpc>
          <a:spcPct val="90000"/>
        </a:lnSpc>
        <a:spcBef>
          <a:spcPts val="300"/>
        </a:spcBef>
        <a:spcAft>
          <a:spcPct val="0"/>
        </a:spcAft>
        <a:buClr>
          <a:srgbClr val="0078AE"/>
        </a:buClr>
        <a:buSzTx/>
        <a:buFont typeface="Verdana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04342103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499" imgH="499" progId="TCLayout.ActiveDocument.1">
                  <p:embed/>
                </p:oleObj>
              </mc:Choice>
              <mc:Fallback>
                <p:oleObj name="think-cell Slide" r:id="rId35" imgW="499" imgH="499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09025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094" r:id="rId2"/>
    <p:sldLayoutId id="2147484095" r:id="rId3"/>
    <p:sldLayoutId id="2147484096" r:id="rId4"/>
    <p:sldLayoutId id="2147484097" r:id="rId5"/>
    <p:sldLayoutId id="2147484098" r:id="rId6"/>
    <p:sldLayoutId id="2147484099" r:id="rId7"/>
    <p:sldLayoutId id="2147484100" r:id="rId8"/>
    <p:sldLayoutId id="2147484101" r:id="rId9"/>
    <p:sldLayoutId id="2147484102" r:id="rId10"/>
    <p:sldLayoutId id="2147484103" r:id="rId11"/>
    <p:sldLayoutId id="2147484104" r:id="rId12"/>
    <p:sldLayoutId id="2147484105" r:id="rId13"/>
    <p:sldLayoutId id="2147484106" r:id="rId14"/>
    <p:sldLayoutId id="2147484107" r:id="rId15"/>
    <p:sldLayoutId id="2147484108" r:id="rId16"/>
    <p:sldLayoutId id="2147484109" r:id="rId17"/>
    <p:sldLayoutId id="2147484110" r:id="rId18"/>
    <p:sldLayoutId id="2147484111" r:id="rId19"/>
    <p:sldLayoutId id="2147484112" r:id="rId20"/>
    <p:sldLayoutId id="2147484113" r:id="rId21"/>
    <p:sldLayoutId id="2147484114" r:id="rId22"/>
    <p:sldLayoutId id="2147484115" r:id="rId23"/>
    <p:sldLayoutId id="2147484116" r:id="rId24"/>
    <p:sldLayoutId id="2147484117" r:id="rId25"/>
    <p:sldLayoutId id="2147484118" r:id="rId26"/>
    <p:sldLayoutId id="2147484119" r:id="rId27"/>
    <p:sldLayoutId id="2147484120" r:id="rId28"/>
    <p:sldLayoutId id="2147484121" r:id="rId29"/>
    <p:sldLayoutId id="2147484122" r:id="rId30"/>
    <p:sldLayoutId id="2147484123" r:id="rId31"/>
    <p:sldLayoutId id="2147484124" r:id="rId32"/>
  </p:sldLayoutIdLst>
  <p:hf sldNum="0" hdr="0" ftr="0" dt="0"/>
  <p:txStyles>
    <p:titleStyle>
      <a:lvl1pPr algn="l" defTabSz="914400" rtl="0" eaLnBrk="1" latinLnBrk="0" hangingPunct="1">
        <a:lnSpc>
          <a:spcPct val="90000"/>
        </a:lnSpc>
        <a:spcBef>
          <a:spcPts val="0"/>
        </a:spcBef>
        <a:buNone/>
        <a:defRPr sz="2800" b="0" kern="1200">
          <a:solidFill>
            <a:srgbClr val="0078AE"/>
          </a:solidFill>
          <a:latin typeface="+mj-lt"/>
          <a:ea typeface="+mj-ea"/>
          <a:cs typeface="+mj-cs"/>
        </a:defRPr>
      </a:lvl1pPr>
    </p:titleStyle>
    <p:bodyStyle>
      <a:lvl1pPr marL="287338" marR="0" indent="-287338" algn="l" defTabSz="914400" rtl="0" eaLnBrk="0" fontAlgn="base" latinLnBrk="0" hangingPunct="0">
        <a:lnSpc>
          <a:spcPct val="90000"/>
        </a:lnSpc>
        <a:spcBef>
          <a:spcPts val="2400"/>
        </a:spcBef>
        <a:spcAft>
          <a:spcPct val="0"/>
        </a:spcAft>
        <a:buClr>
          <a:srgbClr val="0078AE"/>
        </a:buClr>
        <a:buSzPct val="90000"/>
        <a:buFont typeface="Wingdings" pitchFamily="2" charset="2"/>
        <a:buChar char="l"/>
        <a:tabLst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574675" marR="0" indent="-271463" algn="l" defTabSz="914400" rtl="0" eaLnBrk="0" fontAlgn="base" latinLnBrk="0" hangingPunct="0">
        <a:lnSpc>
          <a:spcPct val="90000"/>
        </a:lnSpc>
        <a:spcBef>
          <a:spcPts val="1200"/>
        </a:spcBef>
        <a:spcAft>
          <a:spcPct val="0"/>
        </a:spcAft>
        <a:buClr>
          <a:srgbClr val="0078AE"/>
        </a:buClr>
        <a:buSzPct val="90000"/>
        <a:buFont typeface="Wingdings 3" pitchFamily="18" charset="2"/>
        <a:buChar char="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801688" marR="0" indent="-188913" algn="l" defTabSz="973138" rtl="0" eaLnBrk="0" fontAlgn="base" latinLnBrk="0" hangingPunct="0">
        <a:lnSpc>
          <a:spcPct val="90000"/>
        </a:lnSpc>
        <a:spcBef>
          <a:spcPts val="600"/>
        </a:spcBef>
        <a:spcAft>
          <a:spcPct val="0"/>
        </a:spcAft>
        <a:buClr>
          <a:srgbClr val="0078AE"/>
        </a:buClr>
        <a:buSzPct val="105000"/>
        <a:buFont typeface="Wingdings" pitchFamily="2" charset="2"/>
        <a:buChar char="w"/>
        <a:tabLst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89025" marR="0" indent="-207963" algn="l" defTabSz="914400" rtl="0" eaLnBrk="0" fontAlgn="base" latinLnBrk="0" hangingPunct="0">
        <a:lnSpc>
          <a:spcPct val="90000"/>
        </a:lnSpc>
        <a:spcBef>
          <a:spcPts val="300"/>
        </a:spcBef>
        <a:spcAft>
          <a:spcPct val="0"/>
        </a:spcAft>
        <a:buClr>
          <a:srgbClr val="0078AE"/>
        </a:buClr>
        <a:buSzPct val="95000"/>
        <a:buFont typeface="Arial" pitchFamily="34" charset="0"/>
        <a:buChar char="●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366838" marR="0" indent="-179388" algn="l" defTabSz="914400" rtl="0" eaLnBrk="0" fontAlgn="base" latinLnBrk="0" hangingPunct="0">
        <a:lnSpc>
          <a:spcPct val="90000"/>
        </a:lnSpc>
        <a:spcBef>
          <a:spcPts val="300"/>
        </a:spcBef>
        <a:spcAft>
          <a:spcPct val="0"/>
        </a:spcAft>
        <a:buClr>
          <a:srgbClr val="0078AE"/>
        </a:buClr>
        <a:buSzTx/>
        <a:buFont typeface="Verdana" pitchFamily="34" charset="0"/>
        <a:buChar char="–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57CA7F-5528-4742-BE92-B158167F98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3426966017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523" imgH="499" progId="TCLayout.ActiveDocument.1">
                  <p:embed/>
                </p:oleObj>
              </mc:Choice>
              <mc:Fallback>
                <p:oleObj name="think-cell Slide" r:id="rId35" imgW="523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57CA7F-5528-4742-BE92-B158167F98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73201" y="416609"/>
            <a:ext cx="5649748" cy="1463245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defRPr sz="15650" b="0" i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3201" y="1980741"/>
            <a:ext cx="11442423" cy="405704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9353216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7" r:id="rId1"/>
    <p:sldLayoutId id="2147484128" r:id="rId2"/>
    <p:sldLayoutId id="2147484129" r:id="rId3"/>
    <p:sldLayoutId id="2147484130" r:id="rId4"/>
    <p:sldLayoutId id="2147484131" r:id="rId5"/>
    <p:sldLayoutId id="2147484132" r:id="rId6"/>
    <p:sldLayoutId id="2147484133" r:id="rId7"/>
    <p:sldLayoutId id="2147484134" r:id="rId8"/>
    <p:sldLayoutId id="2147484135" r:id="rId9"/>
    <p:sldLayoutId id="2147484136" r:id="rId10"/>
    <p:sldLayoutId id="2147484137" r:id="rId11"/>
    <p:sldLayoutId id="2147484138" r:id="rId12"/>
    <p:sldLayoutId id="2147484139" r:id="rId13"/>
    <p:sldLayoutId id="2147484140" r:id="rId14"/>
    <p:sldLayoutId id="2147484141" r:id="rId15"/>
    <p:sldLayoutId id="2147484142" r:id="rId16"/>
    <p:sldLayoutId id="2147484143" r:id="rId17"/>
    <p:sldLayoutId id="2147484144" r:id="rId18"/>
    <p:sldLayoutId id="2147484145" r:id="rId19"/>
    <p:sldLayoutId id="2147484146" r:id="rId20"/>
    <p:sldLayoutId id="2147484147" r:id="rId21"/>
    <p:sldLayoutId id="2147484148" r:id="rId22"/>
    <p:sldLayoutId id="2147484149" r:id="rId23"/>
    <p:sldLayoutId id="2147484150" r:id="rId24"/>
    <p:sldLayoutId id="2147484151" r:id="rId25"/>
    <p:sldLayoutId id="2147484152" r:id="rId26"/>
    <p:sldLayoutId id="2147484153" r:id="rId27"/>
    <p:sldLayoutId id="2147484154" r:id="rId28"/>
    <p:sldLayoutId id="2147484155" r:id="rId29"/>
    <p:sldLayoutId id="2147484156" r:id="rId30"/>
    <p:sldLayoutId id="2147484157" r:id="rId31"/>
    <p:sldLayoutId id="2147484158" r:id="rId32"/>
  </p:sldLayoutIdLst>
  <p:hf hdr="0" ftr="0" dt="0"/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277200" eaLnBrk="1" hangingPunct="1">
        <a:defRPr>
          <a:latin typeface="+mn-lt"/>
          <a:ea typeface="+mn-ea"/>
          <a:cs typeface="+mn-cs"/>
        </a:defRPr>
      </a:lvl2pPr>
      <a:lvl3pPr marL="554401" eaLnBrk="1" hangingPunct="1">
        <a:defRPr>
          <a:latin typeface="+mn-lt"/>
          <a:ea typeface="+mn-ea"/>
          <a:cs typeface="+mn-cs"/>
        </a:defRPr>
      </a:lvl3pPr>
      <a:lvl4pPr marL="831601" eaLnBrk="1" hangingPunct="1">
        <a:defRPr>
          <a:latin typeface="+mn-lt"/>
          <a:ea typeface="+mn-ea"/>
          <a:cs typeface="+mn-cs"/>
        </a:defRPr>
      </a:lvl4pPr>
      <a:lvl5pPr marL="1108801" eaLnBrk="1" hangingPunct="1">
        <a:defRPr>
          <a:latin typeface="+mn-lt"/>
          <a:ea typeface="+mn-ea"/>
          <a:cs typeface="+mn-cs"/>
        </a:defRPr>
      </a:lvl5pPr>
      <a:lvl6pPr marL="1386002" eaLnBrk="1" hangingPunct="1">
        <a:defRPr>
          <a:latin typeface="+mn-lt"/>
          <a:ea typeface="+mn-ea"/>
          <a:cs typeface="+mn-cs"/>
        </a:defRPr>
      </a:lvl6pPr>
      <a:lvl7pPr marL="1663202" eaLnBrk="1" hangingPunct="1">
        <a:defRPr>
          <a:latin typeface="+mn-lt"/>
          <a:ea typeface="+mn-ea"/>
          <a:cs typeface="+mn-cs"/>
        </a:defRPr>
      </a:lvl7pPr>
      <a:lvl8pPr marL="1940403" eaLnBrk="1" hangingPunct="1">
        <a:defRPr>
          <a:latin typeface="+mn-lt"/>
          <a:ea typeface="+mn-ea"/>
          <a:cs typeface="+mn-cs"/>
        </a:defRPr>
      </a:lvl8pPr>
      <a:lvl9pPr marL="2217603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277200" eaLnBrk="1" hangingPunct="1">
        <a:defRPr>
          <a:latin typeface="+mn-lt"/>
          <a:ea typeface="+mn-ea"/>
          <a:cs typeface="+mn-cs"/>
        </a:defRPr>
      </a:lvl2pPr>
      <a:lvl3pPr marL="554401" eaLnBrk="1" hangingPunct="1">
        <a:defRPr>
          <a:latin typeface="+mn-lt"/>
          <a:ea typeface="+mn-ea"/>
          <a:cs typeface="+mn-cs"/>
        </a:defRPr>
      </a:lvl3pPr>
      <a:lvl4pPr marL="831601" eaLnBrk="1" hangingPunct="1">
        <a:defRPr>
          <a:latin typeface="+mn-lt"/>
          <a:ea typeface="+mn-ea"/>
          <a:cs typeface="+mn-cs"/>
        </a:defRPr>
      </a:lvl4pPr>
      <a:lvl5pPr marL="1108801" eaLnBrk="1" hangingPunct="1">
        <a:defRPr>
          <a:latin typeface="+mn-lt"/>
          <a:ea typeface="+mn-ea"/>
          <a:cs typeface="+mn-cs"/>
        </a:defRPr>
      </a:lvl5pPr>
      <a:lvl6pPr marL="1386002" eaLnBrk="1" hangingPunct="1">
        <a:defRPr>
          <a:latin typeface="+mn-lt"/>
          <a:ea typeface="+mn-ea"/>
          <a:cs typeface="+mn-cs"/>
        </a:defRPr>
      </a:lvl6pPr>
      <a:lvl7pPr marL="1663202" eaLnBrk="1" hangingPunct="1">
        <a:defRPr>
          <a:latin typeface="+mn-lt"/>
          <a:ea typeface="+mn-ea"/>
          <a:cs typeface="+mn-cs"/>
        </a:defRPr>
      </a:lvl7pPr>
      <a:lvl8pPr marL="1940403" eaLnBrk="1" hangingPunct="1">
        <a:defRPr>
          <a:latin typeface="+mn-lt"/>
          <a:ea typeface="+mn-ea"/>
          <a:cs typeface="+mn-cs"/>
        </a:defRPr>
      </a:lvl8pPr>
      <a:lvl9pPr marL="2217603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36">
          <p15:clr>
            <a:srgbClr val="F26B43"/>
          </p15:clr>
        </p15:guide>
        <p15:guide id="2" pos="6428">
          <p15:clr>
            <a:srgbClr val="F26B43"/>
          </p15:clr>
        </p15:guide>
        <p15:guide id="3" pos="7244">
          <p15:clr>
            <a:srgbClr val="F26B43"/>
          </p15:clr>
        </p15:guide>
        <p15:guide id="4" pos="7436">
          <p15:clr>
            <a:srgbClr val="F26B43"/>
          </p15:clr>
        </p15:guide>
        <p15:guide id="5" pos="5420">
          <p15:clr>
            <a:srgbClr val="F26B43"/>
          </p15:clr>
        </p15:guide>
        <p15:guide id="6" pos="5228">
          <p15:clr>
            <a:srgbClr val="F26B43"/>
          </p15:clr>
        </p15:guide>
        <p15:guide id="7" pos="8252">
          <p15:clr>
            <a:srgbClr val="F26B43"/>
          </p15:clr>
        </p15:guide>
        <p15:guide id="8" pos="4412">
          <p15:clr>
            <a:srgbClr val="F26B43"/>
          </p15:clr>
        </p15:guide>
        <p15:guide id="9" pos="8444">
          <p15:clr>
            <a:srgbClr val="F26B43"/>
          </p15:clr>
        </p15:guide>
        <p15:guide id="10" pos="4220">
          <p15:clr>
            <a:srgbClr val="F26B43"/>
          </p15:clr>
        </p15:guide>
        <p15:guide id="11" pos="3404">
          <p15:clr>
            <a:srgbClr val="F26B43"/>
          </p15:clr>
        </p15:guide>
        <p15:guide id="12" pos="3212">
          <p15:clr>
            <a:srgbClr val="F26B43"/>
          </p15:clr>
        </p15:guide>
        <p15:guide id="13" pos="9260">
          <p15:clr>
            <a:srgbClr val="F26B43"/>
          </p15:clr>
        </p15:guide>
        <p15:guide id="14" pos="9452">
          <p15:clr>
            <a:srgbClr val="F26B43"/>
          </p15:clr>
        </p15:guide>
        <p15:guide id="15" pos="10268">
          <p15:clr>
            <a:srgbClr val="F26B43"/>
          </p15:clr>
        </p15:guide>
        <p15:guide id="16" pos="10460">
          <p15:clr>
            <a:srgbClr val="F26B43"/>
          </p15:clr>
        </p15:guide>
        <p15:guide id="17" pos="11276">
          <p15:clr>
            <a:srgbClr val="F26B43"/>
          </p15:clr>
        </p15:guide>
        <p15:guide id="18" pos="11468">
          <p15:clr>
            <a:srgbClr val="F26B43"/>
          </p15:clr>
        </p15:guide>
        <p15:guide id="19" pos="2396">
          <p15:clr>
            <a:srgbClr val="F26B43"/>
          </p15:clr>
        </p15:guide>
        <p15:guide id="20" pos="2204">
          <p15:clr>
            <a:srgbClr val="F26B43"/>
          </p15:clr>
        </p15:guide>
        <p15:guide id="21" pos="1388">
          <p15:clr>
            <a:srgbClr val="F26B43"/>
          </p15:clr>
        </p15:guide>
        <p15:guide id="22" pos="1196">
          <p15:clr>
            <a:srgbClr val="F26B43"/>
          </p15:clr>
        </p15:guide>
        <p15:guide id="23" pos="380">
          <p15:clr>
            <a:srgbClr val="F26B43"/>
          </p15:clr>
        </p15:guide>
        <p15:guide id="24" pos="12284">
          <p15:clr>
            <a:srgbClr val="F26B43"/>
          </p15:clr>
        </p15:guide>
        <p15:guide id="25" orient="horz" pos="394">
          <p15:clr>
            <a:srgbClr val="F26B43"/>
          </p15:clr>
        </p15:guide>
        <p15:guide id="26" orient="horz" pos="673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57CA7F-5528-4742-BE92-B158167F98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79761909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523" imgH="499" progId="TCLayout.ActiveDocument.1">
                  <p:embed/>
                </p:oleObj>
              </mc:Choice>
              <mc:Fallback>
                <p:oleObj name="think-cell Slide" r:id="rId35" imgW="523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57CA7F-5528-4742-BE92-B158167F98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73201" y="416609"/>
            <a:ext cx="5649748" cy="1463245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defRPr sz="15650" b="0" i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3201" y="1980741"/>
            <a:ext cx="11442423" cy="405704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3333922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0" r:id="rId1"/>
    <p:sldLayoutId id="2147484161" r:id="rId2"/>
    <p:sldLayoutId id="2147484162" r:id="rId3"/>
    <p:sldLayoutId id="2147484163" r:id="rId4"/>
    <p:sldLayoutId id="2147484164" r:id="rId5"/>
    <p:sldLayoutId id="2147484165" r:id="rId6"/>
    <p:sldLayoutId id="2147484166" r:id="rId7"/>
    <p:sldLayoutId id="2147484167" r:id="rId8"/>
    <p:sldLayoutId id="2147484168" r:id="rId9"/>
    <p:sldLayoutId id="2147484169" r:id="rId10"/>
    <p:sldLayoutId id="2147484170" r:id="rId11"/>
    <p:sldLayoutId id="2147484171" r:id="rId12"/>
    <p:sldLayoutId id="2147484172" r:id="rId13"/>
    <p:sldLayoutId id="2147484173" r:id="rId14"/>
    <p:sldLayoutId id="2147484174" r:id="rId15"/>
    <p:sldLayoutId id="2147484175" r:id="rId16"/>
    <p:sldLayoutId id="2147484176" r:id="rId17"/>
    <p:sldLayoutId id="2147484177" r:id="rId18"/>
    <p:sldLayoutId id="2147484178" r:id="rId19"/>
    <p:sldLayoutId id="2147484179" r:id="rId20"/>
    <p:sldLayoutId id="2147484180" r:id="rId21"/>
    <p:sldLayoutId id="2147484181" r:id="rId22"/>
    <p:sldLayoutId id="2147484182" r:id="rId23"/>
    <p:sldLayoutId id="2147484183" r:id="rId24"/>
    <p:sldLayoutId id="2147484184" r:id="rId25"/>
    <p:sldLayoutId id="2147484185" r:id="rId26"/>
    <p:sldLayoutId id="2147484186" r:id="rId27"/>
    <p:sldLayoutId id="2147484187" r:id="rId28"/>
    <p:sldLayoutId id="2147484188" r:id="rId29"/>
    <p:sldLayoutId id="2147484189" r:id="rId30"/>
    <p:sldLayoutId id="2147484190" r:id="rId31"/>
    <p:sldLayoutId id="2147484191" r:id="rId32"/>
  </p:sldLayoutIdLst>
  <p:hf hdr="0" ftr="0" dt="0"/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277200" eaLnBrk="1" hangingPunct="1">
        <a:defRPr>
          <a:latin typeface="+mn-lt"/>
          <a:ea typeface="+mn-ea"/>
          <a:cs typeface="+mn-cs"/>
        </a:defRPr>
      </a:lvl2pPr>
      <a:lvl3pPr marL="554401" eaLnBrk="1" hangingPunct="1">
        <a:defRPr>
          <a:latin typeface="+mn-lt"/>
          <a:ea typeface="+mn-ea"/>
          <a:cs typeface="+mn-cs"/>
        </a:defRPr>
      </a:lvl3pPr>
      <a:lvl4pPr marL="831601" eaLnBrk="1" hangingPunct="1">
        <a:defRPr>
          <a:latin typeface="+mn-lt"/>
          <a:ea typeface="+mn-ea"/>
          <a:cs typeface="+mn-cs"/>
        </a:defRPr>
      </a:lvl4pPr>
      <a:lvl5pPr marL="1108801" eaLnBrk="1" hangingPunct="1">
        <a:defRPr>
          <a:latin typeface="+mn-lt"/>
          <a:ea typeface="+mn-ea"/>
          <a:cs typeface="+mn-cs"/>
        </a:defRPr>
      </a:lvl5pPr>
      <a:lvl6pPr marL="1386002" eaLnBrk="1" hangingPunct="1">
        <a:defRPr>
          <a:latin typeface="+mn-lt"/>
          <a:ea typeface="+mn-ea"/>
          <a:cs typeface="+mn-cs"/>
        </a:defRPr>
      </a:lvl6pPr>
      <a:lvl7pPr marL="1663202" eaLnBrk="1" hangingPunct="1">
        <a:defRPr>
          <a:latin typeface="+mn-lt"/>
          <a:ea typeface="+mn-ea"/>
          <a:cs typeface="+mn-cs"/>
        </a:defRPr>
      </a:lvl7pPr>
      <a:lvl8pPr marL="1940403" eaLnBrk="1" hangingPunct="1">
        <a:defRPr>
          <a:latin typeface="+mn-lt"/>
          <a:ea typeface="+mn-ea"/>
          <a:cs typeface="+mn-cs"/>
        </a:defRPr>
      </a:lvl8pPr>
      <a:lvl9pPr marL="2217603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277200" eaLnBrk="1" hangingPunct="1">
        <a:defRPr>
          <a:latin typeface="+mn-lt"/>
          <a:ea typeface="+mn-ea"/>
          <a:cs typeface="+mn-cs"/>
        </a:defRPr>
      </a:lvl2pPr>
      <a:lvl3pPr marL="554401" eaLnBrk="1" hangingPunct="1">
        <a:defRPr>
          <a:latin typeface="+mn-lt"/>
          <a:ea typeface="+mn-ea"/>
          <a:cs typeface="+mn-cs"/>
        </a:defRPr>
      </a:lvl3pPr>
      <a:lvl4pPr marL="831601" eaLnBrk="1" hangingPunct="1">
        <a:defRPr>
          <a:latin typeface="+mn-lt"/>
          <a:ea typeface="+mn-ea"/>
          <a:cs typeface="+mn-cs"/>
        </a:defRPr>
      </a:lvl4pPr>
      <a:lvl5pPr marL="1108801" eaLnBrk="1" hangingPunct="1">
        <a:defRPr>
          <a:latin typeface="+mn-lt"/>
          <a:ea typeface="+mn-ea"/>
          <a:cs typeface="+mn-cs"/>
        </a:defRPr>
      </a:lvl5pPr>
      <a:lvl6pPr marL="1386002" eaLnBrk="1" hangingPunct="1">
        <a:defRPr>
          <a:latin typeface="+mn-lt"/>
          <a:ea typeface="+mn-ea"/>
          <a:cs typeface="+mn-cs"/>
        </a:defRPr>
      </a:lvl6pPr>
      <a:lvl7pPr marL="1663202" eaLnBrk="1" hangingPunct="1">
        <a:defRPr>
          <a:latin typeface="+mn-lt"/>
          <a:ea typeface="+mn-ea"/>
          <a:cs typeface="+mn-cs"/>
        </a:defRPr>
      </a:lvl7pPr>
      <a:lvl8pPr marL="1940403" eaLnBrk="1" hangingPunct="1">
        <a:defRPr>
          <a:latin typeface="+mn-lt"/>
          <a:ea typeface="+mn-ea"/>
          <a:cs typeface="+mn-cs"/>
        </a:defRPr>
      </a:lvl8pPr>
      <a:lvl9pPr marL="2217603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36">
          <p15:clr>
            <a:srgbClr val="F26B43"/>
          </p15:clr>
        </p15:guide>
        <p15:guide id="2" pos="6428">
          <p15:clr>
            <a:srgbClr val="F26B43"/>
          </p15:clr>
        </p15:guide>
        <p15:guide id="3" pos="7244">
          <p15:clr>
            <a:srgbClr val="F26B43"/>
          </p15:clr>
        </p15:guide>
        <p15:guide id="4" pos="7436">
          <p15:clr>
            <a:srgbClr val="F26B43"/>
          </p15:clr>
        </p15:guide>
        <p15:guide id="5" pos="5420">
          <p15:clr>
            <a:srgbClr val="F26B43"/>
          </p15:clr>
        </p15:guide>
        <p15:guide id="6" pos="5228">
          <p15:clr>
            <a:srgbClr val="F26B43"/>
          </p15:clr>
        </p15:guide>
        <p15:guide id="7" pos="8252">
          <p15:clr>
            <a:srgbClr val="F26B43"/>
          </p15:clr>
        </p15:guide>
        <p15:guide id="8" pos="4412">
          <p15:clr>
            <a:srgbClr val="F26B43"/>
          </p15:clr>
        </p15:guide>
        <p15:guide id="9" pos="8444">
          <p15:clr>
            <a:srgbClr val="F26B43"/>
          </p15:clr>
        </p15:guide>
        <p15:guide id="10" pos="4220">
          <p15:clr>
            <a:srgbClr val="F26B43"/>
          </p15:clr>
        </p15:guide>
        <p15:guide id="11" pos="3404">
          <p15:clr>
            <a:srgbClr val="F26B43"/>
          </p15:clr>
        </p15:guide>
        <p15:guide id="12" pos="3212">
          <p15:clr>
            <a:srgbClr val="F26B43"/>
          </p15:clr>
        </p15:guide>
        <p15:guide id="13" pos="9260">
          <p15:clr>
            <a:srgbClr val="F26B43"/>
          </p15:clr>
        </p15:guide>
        <p15:guide id="14" pos="9452">
          <p15:clr>
            <a:srgbClr val="F26B43"/>
          </p15:clr>
        </p15:guide>
        <p15:guide id="15" pos="10268">
          <p15:clr>
            <a:srgbClr val="F26B43"/>
          </p15:clr>
        </p15:guide>
        <p15:guide id="16" pos="10460">
          <p15:clr>
            <a:srgbClr val="F26B43"/>
          </p15:clr>
        </p15:guide>
        <p15:guide id="17" pos="11276">
          <p15:clr>
            <a:srgbClr val="F26B43"/>
          </p15:clr>
        </p15:guide>
        <p15:guide id="18" pos="11468">
          <p15:clr>
            <a:srgbClr val="F26B43"/>
          </p15:clr>
        </p15:guide>
        <p15:guide id="19" pos="2396">
          <p15:clr>
            <a:srgbClr val="F26B43"/>
          </p15:clr>
        </p15:guide>
        <p15:guide id="20" pos="2204">
          <p15:clr>
            <a:srgbClr val="F26B43"/>
          </p15:clr>
        </p15:guide>
        <p15:guide id="21" pos="1388">
          <p15:clr>
            <a:srgbClr val="F26B43"/>
          </p15:clr>
        </p15:guide>
        <p15:guide id="22" pos="1196">
          <p15:clr>
            <a:srgbClr val="F26B43"/>
          </p15:clr>
        </p15:guide>
        <p15:guide id="23" pos="380">
          <p15:clr>
            <a:srgbClr val="F26B43"/>
          </p15:clr>
        </p15:guide>
        <p15:guide id="24" pos="12284">
          <p15:clr>
            <a:srgbClr val="F26B43"/>
          </p15:clr>
        </p15:guide>
        <p15:guide id="25" orient="horz" pos="394">
          <p15:clr>
            <a:srgbClr val="F26B43"/>
          </p15:clr>
        </p15:guide>
        <p15:guide id="26" orient="horz" pos="673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57CA7F-5528-4742-BE92-B158167F98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5"/>
            </p:custDataLst>
            <p:extLst>
              <p:ext uri="{D42A27DB-BD31-4B8C-83A1-F6EECF244321}">
                <p14:modId xmlns:p14="http://schemas.microsoft.com/office/powerpoint/2010/main" val="3556137007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6" imgW="523" imgH="499" progId="TCLayout.ActiveDocument.1">
                  <p:embed/>
                </p:oleObj>
              </mc:Choice>
              <mc:Fallback>
                <p:oleObj name="think-cell Slide" r:id="rId36" imgW="523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57CA7F-5528-4742-BE92-B158167F98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7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73201" y="416609"/>
            <a:ext cx="5649748" cy="1463245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defRPr sz="15650" b="0" i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3201" y="1980741"/>
            <a:ext cx="11442423" cy="405704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775003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93" r:id="rId1"/>
    <p:sldLayoutId id="2147484194" r:id="rId2"/>
    <p:sldLayoutId id="2147484195" r:id="rId3"/>
    <p:sldLayoutId id="2147484196" r:id="rId4"/>
    <p:sldLayoutId id="2147484197" r:id="rId5"/>
    <p:sldLayoutId id="2147484198" r:id="rId6"/>
    <p:sldLayoutId id="2147484199" r:id="rId7"/>
    <p:sldLayoutId id="2147484200" r:id="rId8"/>
    <p:sldLayoutId id="2147484201" r:id="rId9"/>
    <p:sldLayoutId id="2147484202" r:id="rId10"/>
    <p:sldLayoutId id="2147484203" r:id="rId11"/>
    <p:sldLayoutId id="2147484204" r:id="rId12"/>
    <p:sldLayoutId id="2147484205" r:id="rId13"/>
    <p:sldLayoutId id="2147484206" r:id="rId14"/>
    <p:sldLayoutId id="2147484207" r:id="rId15"/>
    <p:sldLayoutId id="2147484208" r:id="rId16"/>
    <p:sldLayoutId id="2147484209" r:id="rId17"/>
    <p:sldLayoutId id="2147484210" r:id="rId18"/>
    <p:sldLayoutId id="2147484211" r:id="rId19"/>
    <p:sldLayoutId id="2147484212" r:id="rId20"/>
    <p:sldLayoutId id="2147484213" r:id="rId21"/>
    <p:sldLayoutId id="2147484214" r:id="rId22"/>
    <p:sldLayoutId id="2147484215" r:id="rId23"/>
    <p:sldLayoutId id="2147484216" r:id="rId24"/>
    <p:sldLayoutId id="2147484217" r:id="rId25"/>
    <p:sldLayoutId id="2147484218" r:id="rId26"/>
    <p:sldLayoutId id="2147484219" r:id="rId27"/>
    <p:sldLayoutId id="2147484220" r:id="rId28"/>
    <p:sldLayoutId id="2147484221" r:id="rId29"/>
    <p:sldLayoutId id="2147484222" r:id="rId30"/>
    <p:sldLayoutId id="2147484223" r:id="rId31"/>
    <p:sldLayoutId id="2147484224" r:id="rId32"/>
    <p:sldLayoutId id="2147484303" r:id="rId33"/>
  </p:sldLayoutIdLst>
  <p:hf hdr="0" ftr="0" dt="0"/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277200" eaLnBrk="1" hangingPunct="1">
        <a:defRPr>
          <a:latin typeface="+mn-lt"/>
          <a:ea typeface="+mn-ea"/>
          <a:cs typeface="+mn-cs"/>
        </a:defRPr>
      </a:lvl2pPr>
      <a:lvl3pPr marL="554401" eaLnBrk="1" hangingPunct="1">
        <a:defRPr>
          <a:latin typeface="+mn-lt"/>
          <a:ea typeface="+mn-ea"/>
          <a:cs typeface="+mn-cs"/>
        </a:defRPr>
      </a:lvl3pPr>
      <a:lvl4pPr marL="831601" eaLnBrk="1" hangingPunct="1">
        <a:defRPr>
          <a:latin typeface="+mn-lt"/>
          <a:ea typeface="+mn-ea"/>
          <a:cs typeface="+mn-cs"/>
        </a:defRPr>
      </a:lvl4pPr>
      <a:lvl5pPr marL="1108801" eaLnBrk="1" hangingPunct="1">
        <a:defRPr>
          <a:latin typeface="+mn-lt"/>
          <a:ea typeface="+mn-ea"/>
          <a:cs typeface="+mn-cs"/>
        </a:defRPr>
      </a:lvl5pPr>
      <a:lvl6pPr marL="1386002" eaLnBrk="1" hangingPunct="1">
        <a:defRPr>
          <a:latin typeface="+mn-lt"/>
          <a:ea typeface="+mn-ea"/>
          <a:cs typeface="+mn-cs"/>
        </a:defRPr>
      </a:lvl6pPr>
      <a:lvl7pPr marL="1663202" eaLnBrk="1" hangingPunct="1">
        <a:defRPr>
          <a:latin typeface="+mn-lt"/>
          <a:ea typeface="+mn-ea"/>
          <a:cs typeface="+mn-cs"/>
        </a:defRPr>
      </a:lvl7pPr>
      <a:lvl8pPr marL="1940403" eaLnBrk="1" hangingPunct="1">
        <a:defRPr>
          <a:latin typeface="+mn-lt"/>
          <a:ea typeface="+mn-ea"/>
          <a:cs typeface="+mn-cs"/>
        </a:defRPr>
      </a:lvl8pPr>
      <a:lvl9pPr marL="2217603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277200" eaLnBrk="1" hangingPunct="1">
        <a:defRPr>
          <a:latin typeface="+mn-lt"/>
          <a:ea typeface="+mn-ea"/>
          <a:cs typeface="+mn-cs"/>
        </a:defRPr>
      </a:lvl2pPr>
      <a:lvl3pPr marL="554401" eaLnBrk="1" hangingPunct="1">
        <a:defRPr>
          <a:latin typeface="+mn-lt"/>
          <a:ea typeface="+mn-ea"/>
          <a:cs typeface="+mn-cs"/>
        </a:defRPr>
      </a:lvl3pPr>
      <a:lvl4pPr marL="831601" eaLnBrk="1" hangingPunct="1">
        <a:defRPr>
          <a:latin typeface="+mn-lt"/>
          <a:ea typeface="+mn-ea"/>
          <a:cs typeface="+mn-cs"/>
        </a:defRPr>
      </a:lvl4pPr>
      <a:lvl5pPr marL="1108801" eaLnBrk="1" hangingPunct="1">
        <a:defRPr>
          <a:latin typeface="+mn-lt"/>
          <a:ea typeface="+mn-ea"/>
          <a:cs typeface="+mn-cs"/>
        </a:defRPr>
      </a:lvl5pPr>
      <a:lvl6pPr marL="1386002" eaLnBrk="1" hangingPunct="1">
        <a:defRPr>
          <a:latin typeface="+mn-lt"/>
          <a:ea typeface="+mn-ea"/>
          <a:cs typeface="+mn-cs"/>
        </a:defRPr>
      </a:lvl6pPr>
      <a:lvl7pPr marL="1663202" eaLnBrk="1" hangingPunct="1">
        <a:defRPr>
          <a:latin typeface="+mn-lt"/>
          <a:ea typeface="+mn-ea"/>
          <a:cs typeface="+mn-cs"/>
        </a:defRPr>
      </a:lvl7pPr>
      <a:lvl8pPr marL="1940403" eaLnBrk="1" hangingPunct="1">
        <a:defRPr>
          <a:latin typeface="+mn-lt"/>
          <a:ea typeface="+mn-ea"/>
          <a:cs typeface="+mn-cs"/>
        </a:defRPr>
      </a:lvl8pPr>
      <a:lvl9pPr marL="2217603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36">
          <p15:clr>
            <a:srgbClr val="F26B43"/>
          </p15:clr>
        </p15:guide>
        <p15:guide id="2" pos="6428">
          <p15:clr>
            <a:srgbClr val="F26B43"/>
          </p15:clr>
        </p15:guide>
        <p15:guide id="3" pos="7244">
          <p15:clr>
            <a:srgbClr val="F26B43"/>
          </p15:clr>
        </p15:guide>
        <p15:guide id="4" pos="7436">
          <p15:clr>
            <a:srgbClr val="F26B43"/>
          </p15:clr>
        </p15:guide>
        <p15:guide id="5" pos="5420">
          <p15:clr>
            <a:srgbClr val="F26B43"/>
          </p15:clr>
        </p15:guide>
        <p15:guide id="6" pos="5228">
          <p15:clr>
            <a:srgbClr val="F26B43"/>
          </p15:clr>
        </p15:guide>
        <p15:guide id="7" pos="8252">
          <p15:clr>
            <a:srgbClr val="F26B43"/>
          </p15:clr>
        </p15:guide>
        <p15:guide id="8" pos="4412">
          <p15:clr>
            <a:srgbClr val="F26B43"/>
          </p15:clr>
        </p15:guide>
        <p15:guide id="9" pos="8444">
          <p15:clr>
            <a:srgbClr val="F26B43"/>
          </p15:clr>
        </p15:guide>
        <p15:guide id="10" pos="4220">
          <p15:clr>
            <a:srgbClr val="F26B43"/>
          </p15:clr>
        </p15:guide>
        <p15:guide id="11" pos="3404">
          <p15:clr>
            <a:srgbClr val="F26B43"/>
          </p15:clr>
        </p15:guide>
        <p15:guide id="12" pos="3212">
          <p15:clr>
            <a:srgbClr val="F26B43"/>
          </p15:clr>
        </p15:guide>
        <p15:guide id="13" pos="9260">
          <p15:clr>
            <a:srgbClr val="F26B43"/>
          </p15:clr>
        </p15:guide>
        <p15:guide id="14" pos="9452">
          <p15:clr>
            <a:srgbClr val="F26B43"/>
          </p15:clr>
        </p15:guide>
        <p15:guide id="15" pos="10268">
          <p15:clr>
            <a:srgbClr val="F26B43"/>
          </p15:clr>
        </p15:guide>
        <p15:guide id="16" pos="10460">
          <p15:clr>
            <a:srgbClr val="F26B43"/>
          </p15:clr>
        </p15:guide>
        <p15:guide id="17" pos="11276">
          <p15:clr>
            <a:srgbClr val="F26B43"/>
          </p15:clr>
        </p15:guide>
        <p15:guide id="18" pos="11468">
          <p15:clr>
            <a:srgbClr val="F26B43"/>
          </p15:clr>
        </p15:guide>
        <p15:guide id="19" pos="2396">
          <p15:clr>
            <a:srgbClr val="F26B43"/>
          </p15:clr>
        </p15:guide>
        <p15:guide id="20" pos="2204">
          <p15:clr>
            <a:srgbClr val="F26B43"/>
          </p15:clr>
        </p15:guide>
        <p15:guide id="21" pos="1388">
          <p15:clr>
            <a:srgbClr val="F26B43"/>
          </p15:clr>
        </p15:guide>
        <p15:guide id="22" pos="1196">
          <p15:clr>
            <a:srgbClr val="F26B43"/>
          </p15:clr>
        </p15:guide>
        <p15:guide id="23" pos="380">
          <p15:clr>
            <a:srgbClr val="F26B43"/>
          </p15:clr>
        </p15:guide>
        <p15:guide id="24" pos="12284">
          <p15:clr>
            <a:srgbClr val="F26B43"/>
          </p15:clr>
        </p15:guide>
        <p15:guide id="25" orient="horz" pos="394">
          <p15:clr>
            <a:srgbClr val="F26B43"/>
          </p15:clr>
        </p15:guide>
        <p15:guide id="26" orient="horz" pos="6730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57CA7F-5528-4742-BE92-B158167F982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4"/>
            </p:custDataLst>
            <p:extLst>
              <p:ext uri="{D42A27DB-BD31-4B8C-83A1-F6EECF244321}">
                <p14:modId xmlns:p14="http://schemas.microsoft.com/office/powerpoint/2010/main" val="2624237571"/>
              </p:ext>
            </p:extLst>
          </p:nvPr>
        </p:nvGraphicFramePr>
        <p:xfrm>
          <a:off x="963" y="963"/>
          <a:ext cx="963" cy="9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5" imgW="523" imgH="499" progId="TCLayout.ActiveDocument.1">
                  <p:embed/>
                </p:oleObj>
              </mc:Choice>
              <mc:Fallback>
                <p:oleObj name="think-cell Slide" r:id="rId35" imgW="523" imgH="499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57CA7F-5528-4742-BE92-B158167F98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6"/>
                      <a:stretch>
                        <a:fillRect/>
                      </a:stretch>
                    </p:blipFill>
                    <p:spPr>
                      <a:xfrm>
                        <a:off x="963" y="963"/>
                        <a:ext cx="963" cy="96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73201" y="416609"/>
            <a:ext cx="5649748" cy="1463245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defRPr sz="15650" b="0" i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3201" y="1980741"/>
            <a:ext cx="11442423" cy="405704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7159820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26" r:id="rId1"/>
    <p:sldLayoutId id="2147484227" r:id="rId2"/>
    <p:sldLayoutId id="2147484228" r:id="rId3"/>
    <p:sldLayoutId id="2147484229" r:id="rId4"/>
    <p:sldLayoutId id="2147484230" r:id="rId5"/>
    <p:sldLayoutId id="2147484231" r:id="rId6"/>
    <p:sldLayoutId id="2147484232" r:id="rId7"/>
    <p:sldLayoutId id="2147484233" r:id="rId8"/>
    <p:sldLayoutId id="2147484234" r:id="rId9"/>
    <p:sldLayoutId id="2147484235" r:id="rId10"/>
    <p:sldLayoutId id="2147484236" r:id="rId11"/>
    <p:sldLayoutId id="2147484237" r:id="rId12"/>
    <p:sldLayoutId id="2147484238" r:id="rId13"/>
    <p:sldLayoutId id="2147484239" r:id="rId14"/>
    <p:sldLayoutId id="2147484240" r:id="rId15"/>
    <p:sldLayoutId id="2147484241" r:id="rId16"/>
    <p:sldLayoutId id="2147484242" r:id="rId17"/>
    <p:sldLayoutId id="2147484243" r:id="rId18"/>
    <p:sldLayoutId id="2147484244" r:id="rId19"/>
    <p:sldLayoutId id="2147484245" r:id="rId20"/>
    <p:sldLayoutId id="2147484246" r:id="rId21"/>
    <p:sldLayoutId id="2147484247" r:id="rId22"/>
    <p:sldLayoutId id="2147484248" r:id="rId23"/>
    <p:sldLayoutId id="2147484249" r:id="rId24"/>
    <p:sldLayoutId id="2147484250" r:id="rId25"/>
    <p:sldLayoutId id="2147484251" r:id="rId26"/>
    <p:sldLayoutId id="2147484252" r:id="rId27"/>
    <p:sldLayoutId id="2147484253" r:id="rId28"/>
    <p:sldLayoutId id="2147484254" r:id="rId29"/>
    <p:sldLayoutId id="2147484255" r:id="rId30"/>
    <p:sldLayoutId id="2147484256" r:id="rId31"/>
    <p:sldLayoutId id="2147484257" r:id="rId32"/>
  </p:sldLayoutIdLst>
  <p:hf hdr="0" ftr="0" dt="0"/>
  <p:txStyles>
    <p:titleStyle>
      <a:lvl1pPr eaLnBrk="1" hangingPunct="1">
        <a:defRPr>
          <a:latin typeface="+mj-lt"/>
          <a:ea typeface="+mj-ea"/>
          <a:cs typeface="+mj-cs"/>
        </a:defRPr>
      </a:lvl1pPr>
    </p:titleStyle>
    <p:bodyStyle>
      <a:lvl1pPr marL="0" eaLnBrk="1" hangingPunct="1">
        <a:defRPr>
          <a:latin typeface="+mn-lt"/>
          <a:ea typeface="+mn-ea"/>
          <a:cs typeface="+mn-cs"/>
        </a:defRPr>
      </a:lvl1pPr>
      <a:lvl2pPr marL="277200" eaLnBrk="1" hangingPunct="1">
        <a:defRPr>
          <a:latin typeface="+mn-lt"/>
          <a:ea typeface="+mn-ea"/>
          <a:cs typeface="+mn-cs"/>
        </a:defRPr>
      </a:lvl2pPr>
      <a:lvl3pPr marL="554401" eaLnBrk="1" hangingPunct="1">
        <a:defRPr>
          <a:latin typeface="+mn-lt"/>
          <a:ea typeface="+mn-ea"/>
          <a:cs typeface="+mn-cs"/>
        </a:defRPr>
      </a:lvl3pPr>
      <a:lvl4pPr marL="831601" eaLnBrk="1" hangingPunct="1">
        <a:defRPr>
          <a:latin typeface="+mn-lt"/>
          <a:ea typeface="+mn-ea"/>
          <a:cs typeface="+mn-cs"/>
        </a:defRPr>
      </a:lvl4pPr>
      <a:lvl5pPr marL="1108801" eaLnBrk="1" hangingPunct="1">
        <a:defRPr>
          <a:latin typeface="+mn-lt"/>
          <a:ea typeface="+mn-ea"/>
          <a:cs typeface="+mn-cs"/>
        </a:defRPr>
      </a:lvl5pPr>
      <a:lvl6pPr marL="1386002" eaLnBrk="1" hangingPunct="1">
        <a:defRPr>
          <a:latin typeface="+mn-lt"/>
          <a:ea typeface="+mn-ea"/>
          <a:cs typeface="+mn-cs"/>
        </a:defRPr>
      </a:lvl6pPr>
      <a:lvl7pPr marL="1663202" eaLnBrk="1" hangingPunct="1">
        <a:defRPr>
          <a:latin typeface="+mn-lt"/>
          <a:ea typeface="+mn-ea"/>
          <a:cs typeface="+mn-cs"/>
        </a:defRPr>
      </a:lvl7pPr>
      <a:lvl8pPr marL="1940403" eaLnBrk="1" hangingPunct="1">
        <a:defRPr>
          <a:latin typeface="+mn-lt"/>
          <a:ea typeface="+mn-ea"/>
          <a:cs typeface="+mn-cs"/>
        </a:defRPr>
      </a:lvl8pPr>
      <a:lvl9pPr marL="2217603" eaLnBrk="1" hangingPunct="1">
        <a:defRPr>
          <a:latin typeface="+mn-lt"/>
          <a:ea typeface="+mn-ea"/>
          <a:cs typeface="+mn-cs"/>
        </a:defRPr>
      </a:lvl9pPr>
    </p:bodyStyle>
    <p:otherStyle>
      <a:lvl1pPr marL="0" eaLnBrk="1" hangingPunct="1">
        <a:defRPr>
          <a:latin typeface="+mn-lt"/>
          <a:ea typeface="+mn-ea"/>
          <a:cs typeface="+mn-cs"/>
        </a:defRPr>
      </a:lvl1pPr>
      <a:lvl2pPr marL="277200" eaLnBrk="1" hangingPunct="1">
        <a:defRPr>
          <a:latin typeface="+mn-lt"/>
          <a:ea typeface="+mn-ea"/>
          <a:cs typeface="+mn-cs"/>
        </a:defRPr>
      </a:lvl2pPr>
      <a:lvl3pPr marL="554401" eaLnBrk="1" hangingPunct="1">
        <a:defRPr>
          <a:latin typeface="+mn-lt"/>
          <a:ea typeface="+mn-ea"/>
          <a:cs typeface="+mn-cs"/>
        </a:defRPr>
      </a:lvl3pPr>
      <a:lvl4pPr marL="831601" eaLnBrk="1" hangingPunct="1">
        <a:defRPr>
          <a:latin typeface="+mn-lt"/>
          <a:ea typeface="+mn-ea"/>
          <a:cs typeface="+mn-cs"/>
        </a:defRPr>
      </a:lvl4pPr>
      <a:lvl5pPr marL="1108801" eaLnBrk="1" hangingPunct="1">
        <a:defRPr>
          <a:latin typeface="+mn-lt"/>
          <a:ea typeface="+mn-ea"/>
          <a:cs typeface="+mn-cs"/>
        </a:defRPr>
      </a:lvl5pPr>
      <a:lvl6pPr marL="1386002" eaLnBrk="1" hangingPunct="1">
        <a:defRPr>
          <a:latin typeface="+mn-lt"/>
          <a:ea typeface="+mn-ea"/>
          <a:cs typeface="+mn-cs"/>
        </a:defRPr>
      </a:lvl6pPr>
      <a:lvl7pPr marL="1663202" eaLnBrk="1" hangingPunct="1">
        <a:defRPr>
          <a:latin typeface="+mn-lt"/>
          <a:ea typeface="+mn-ea"/>
          <a:cs typeface="+mn-cs"/>
        </a:defRPr>
      </a:lvl7pPr>
      <a:lvl8pPr marL="1940403" eaLnBrk="1" hangingPunct="1">
        <a:defRPr>
          <a:latin typeface="+mn-lt"/>
          <a:ea typeface="+mn-ea"/>
          <a:cs typeface="+mn-cs"/>
        </a:defRPr>
      </a:lvl8pPr>
      <a:lvl9pPr marL="2217603" eaLnBrk="1" hangingPunct="1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36">
          <p15:clr>
            <a:srgbClr val="F26B43"/>
          </p15:clr>
        </p15:guide>
        <p15:guide id="2" pos="6428">
          <p15:clr>
            <a:srgbClr val="F26B43"/>
          </p15:clr>
        </p15:guide>
        <p15:guide id="3" pos="7244">
          <p15:clr>
            <a:srgbClr val="F26B43"/>
          </p15:clr>
        </p15:guide>
        <p15:guide id="4" pos="7436">
          <p15:clr>
            <a:srgbClr val="F26B43"/>
          </p15:clr>
        </p15:guide>
        <p15:guide id="5" pos="5420">
          <p15:clr>
            <a:srgbClr val="F26B43"/>
          </p15:clr>
        </p15:guide>
        <p15:guide id="6" pos="5228">
          <p15:clr>
            <a:srgbClr val="F26B43"/>
          </p15:clr>
        </p15:guide>
        <p15:guide id="7" pos="8252">
          <p15:clr>
            <a:srgbClr val="F26B43"/>
          </p15:clr>
        </p15:guide>
        <p15:guide id="8" pos="4412">
          <p15:clr>
            <a:srgbClr val="F26B43"/>
          </p15:clr>
        </p15:guide>
        <p15:guide id="9" pos="8444">
          <p15:clr>
            <a:srgbClr val="F26B43"/>
          </p15:clr>
        </p15:guide>
        <p15:guide id="10" pos="4220">
          <p15:clr>
            <a:srgbClr val="F26B43"/>
          </p15:clr>
        </p15:guide>
        <p15:guide id="11" pos="3404">
          <p15:clr>
            <a:srgbClr val="F26B43"/>
          </p15:clr>
        </p15:guide>
        <p15:guide id="12" pos="3212">
          <p15:clr>
            <a:srgbClr val="F26B43"/>
          </p15:clr>
        </p15:guide>
        <p15:guide id="13" pos="9260">
          <p15:clr>
            <a:srgbClr val="F26B43"/>
          </p15:clr>
        </p15:guide>
        <p15:guide id="14" pos="9452">
          <p15:clr>
            <a:srgbClr val="F26B43"/>
          </p15:clr>
        </p15:guide>
        <p15:guide id="15" pos="10268">
          <p15:clr>
            <a:srgbClr val="F26B43"/>
          </p15:clr>
        </p15:guide>
        <p15:guide id="16" pos="10460">
          <p15:clr>
            <a:srgbClr val="F26B43"/>
          </p15:clr>
        </p15:guide>
        <p15:guide id="17" pos="11276">
          <p15:clr>
            <a:srgbClr val="F26B43"/>
          </p15:clr>
        </p15:guide>
        <p15:guide id="18" pos="11468">
          <p15:clr>
            <a:srgbClr val="F26B43"/>
          </p15:clr>
        </p15:guide>
        <p15:guide id="19" pos="2396">
          <p15:clr>
            <a:srgbClr val="F26B43"/>
          </p15:clr>
        </p15:guide>
        <p15:guide id="20" pos="2204">
          <p15:clr>
            <a:srgbClr val="F26B43"/>
          </p15:clr>
        </p15:guide>
        <p15:guide id="21" pos="1388">
          <p15:clr>
            <a:srgbClr val="F26B43"/>
          </p15:clr>
        </p15:guide>
        <p15:guide id="22" pos="1196">
          <p15:clr>
            <a:srgbClr val="F26B43"/>
          </p15:clr>
        </p15:guide>
        <p15:guide id="23" pos="380">
          <p15:clr>
            <a:srgbClr val="F26B43"/>
          </p15:clr>
        </p15:guide>
        <p15:guide id="24" pos="12284">
          <p15:clr>
            <a:srgbClr val="F26B43"/>
          </p15:clr>
        </p15:guide>
        <p15:guide id="25" orient="horz" pos="394">
          <p15:clr>
            <a:srgbClr val="F26B43"/>
          </p15:clr>
        </p15:guide>
        <p15:guide id="26" orient="horz" pos="673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>
          <a:xfrm>
            <a:off x="373201" y="416610"/>
            <a:ext cx="5649747" cy="1463245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defRPr sz="15650" b="0" i="0">
                <a:solidFill>
                  <a:srgbClr val="010202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>
          <a:xfrm>
            <a:off x="373202" y="1980741"/>
            <a:ext cx="11442422" cy="4057040"/>
          </a:xfrm>
          <a:prstGeom prst="rect">
            <a:avLst/>
          </a:prstGeom>
        </p:spPr>
        <p:txBody>
          <a:bodyPr wrap="square" lIns="0" tIns="0" rIns="0" bIns="0">
            <a:normAutofit/>
          </a:bodyPr>
          <a:lstStyle>
            <a:lvl1pPr>
              <a:defRPr b="0" i="0">
                <a:solidFill>
                  <a:schemeClr val="tx1"/>
                </a:solidFill>
              </a:defRPr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32795353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60" r:id="rId1"/>
    <p:sldLayoutId id="2147484261" r:id="rId2"/>
    <p:sldLayoutId id="2147484262" r:id="rId3"/>
    <p:sldLayoutId id="2147484263" r:id="rId4"/>
    <p:sldLayoutId id="2147484264" r:id="rId5"/>
    <p:sldLayoutId id="2147484265" r:id="rId6"/>
    <p:sldLayoutId id="2147484266" r:id="rId7"/>
    <p:sldLayoutId id="2147484267" r:id="rId8"/>
    <p:sldLayoutId id="2147484268" r:id="rId9"/>
    <p:sldLayoutId id="2147484269" r:id="rId10"/>
    <p:sldLayoutId id="2147484270" r:id="rId11"/>
    <p:sldLayoutId id="2147484271" r:id="rId12"/>
    <p:sldLayoutId id="2147484272" r:id="rId13"/>
    <p:sldLayoutId id="2147484273" r:id="rId14"/>
    <p:sldLayoutId id="2147484274" r:id="rId15"/>
    <p:sldLayoutId id="2147484275" r:id="rId16"/>
    <p:sldLayoutId id="2147484276" r:id="rId17"/>
    <p:sldLayoutId id="2147484277" r:id="rId18"/>
    <p:sldLayoutId id="2147484278" r:id="rId19"/>
    <p:sldLayoutId id="2147484279" r:id="rId20"/>
    <p:sldLayoutId id="2147484280" r:id="rId21"/>
    <p:sldLayoutId id="2147484281" r:id="rId22"/>
    <p:sldLayoutId id="2147484282" r:id="rId23"/>
    <p:sldLayoutId id="2147484283" r:id="rId24"/>
    <p:sldLayoutId id="2147484284" r:id="rId25"/>
    <p:sldLayoutId id="2147484285" r:id="rId26"/>
    <p:sldLayoutId id="2147484286" r:id="rId27"/>
    <p:sldLayoutId id="2147484287" r:id="rId28"/>
    <p:sldLayoutId id="2147484288" r:id="rId29"/>
    <p:sldLayoutId id="2147484289" r:id="rId30"/>
    <p:sldLayoutId id="2147484290" r:id="rId31"/>
    <p:sldLayoutId id="2147484291" r:id="rId32"/>
  </p:sldLayoutIdLst>
  <p:hf hdr="0" ftr="0" dt="0"/>
  <p:txStyles>
    <p:titleStyle>
      <a:lvl1pPr>
        <a:defRPr>
          <a:latin typeface="+mj-lt"/>
          <a:ea typeface="+mj-ea"/>
          <a:cs typeface="+mj-cs"/>
        </a:defRPr>
      </a:lvl1pPr>
    </p:titleStyle>
    <p:bodyStyle>
      <a:lvl1pPr marL="0">
        <a:defRPr>
          <a:latin typeface="+mn-lt"/>
          <a:ea typeface="+mn-ea"/>
          <a:cs typeface="+mn-cs"/>
        </a:defRPr>
      </a:lvl1pPr>
      <a:lvl2pPr marL="277163">
        <a:defRPr>
          <a:latin typeface="+mn-lt"/>
          <a:ea typeface="+mn-ea"/>
          <a:cs typeface="+mn-cs"/>
        </a:defRPr>
      </a:lvl2pPr>
      <a:lvl3pPr marL="554326">
        <a:defRPr>
          <a:latin typeface="+mn-lt"/>
          <a:ea typeface="+mn-ea"/>
          <a:cs typeface="+mn-cs"/>
        </a:defRPr>
      </a:lvl3pPr>
      <a:lvl4pPr marL="831488">
        <a:defRPr>
          <a:latin typeface="+mn-lt"/>
          <a:ea typeface="+mn-ea"/>
          <a:cs typeface="+mn-cs"/>
        </a:defRPr>
      </a:lvl4pPr>
      <a:lvl5pPr marL="1108651">
        <a:defRPr>
          <a:latin typeface="+mn-lt"/>
          <a:ea typeface="+mn-ea"/>
          <a:cs typeface="+mn-cs"/>
        </a:defRPr>
      </a:lvl5pPr>
      <a:lvl6pPr marL="1385814">
        <a:defRPr>
          <a:latin typeface="+mn-lt"/>
          <a:ea typeface="+mn-ea"/>
          <a:cs typeface="+mn-cs"/>
        </a:defRPr>
      </a:lvl6pPr>
      <a:lvl7pPr marL="1662977">
        <a:defRPr>
          <a:latin typeface="+mn-lt"/>
          <a:ea typeface="+mn-ea"/>
          <a:cs typeface="+mn-cs"/>
        </a:defRPr>
      </a:lvl7pPr>
      <a:lvl8pPr marL="1940141">
        <a:defRPr>
          <a:latin typeface="+mn-lt"/>
          <a:ea typeface="+mn-ea"/>
          <a:cs typeface="+mn-cs"/>
        </a:defRPr>
      </a:lvl8pPr>
      <a:lvl9pPr marL="2217304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277163">
        <a:defRPr>
          <a:latin typeface="+mn-lt"/>
          <a:ea typeface="+mn-ea"/>
          <a:cs typeface="+mn-cs"/>
        </a:defRPr>
      </a:lvl2pPr>
      <a:lvl3pPr marL="554326">
        <a:defRPr>
          <a:latin typeface="+mn-lt"/>
          <a:ea typeface="+mn-ea"/>
          <a:cs typeface="+mn-cs"/>
        </a:defRPr>
      </a:lvl3pPr>
      <a:lvl4pPr marL="831488">
        <a:defRPr>
          <a:latin typeface="+mn-lt"/>
          <a:ea typeface="+mn-ea"/>
          <a:cs typeface="+mn-cs"/>
        </a:defRPr>
      </a:lvl4pPr>
      <a:lvl5pPr marL="1108651">
        <a:defRPr>
          <a:latin typeface="+mn-lt"/>
          <a:ea typeface="+mn-ea"/>
          <a:cs typeface="+mn-cs"/>
        </a:defRPr>
      </a:lvl5pPr>
      <a:lvl6pPr marL="1385814">
        <a:defRPr>
          <a:latin typeface="+mn-lt"/>
          <a:ea typeface="+mn-ea"/>
          <a:cs typeface="+mn-cs"/>
        </a:defRPr>
      </a:lvl6pPr>
      <a:lvl7pPr marL="1662977">
        <a:defRPr>
          <a:latin typeface="+mn-lt"/>
          <a:ea typeface="+mn-ea"/>
          <a:cs typeface="+mn-cs"/>
        </a:defRPr>
      </a:lvl7pPr>
      <a:lvl8pPr marL="1940141">
        <a:defRPr>
          <a:latin typeface="+mn-lt"/>
          <a:ea typeface="+mn-ea"/>
          <a:cs typeface="+mn-cs"/>
        </a:defRPr>
      </a:lvl8pPr>
      <a:lvl9pPr marL="2217304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6236">
          <p15:clr>
            <a:srgbClr val="F26B43"/>
          </p15:clr>
        </p15:guide>
        <p15:guide id="2" pos="6428">
          <p15:clr>
            <a:srgbClr val="F26B43"/>
          </p15:clr>
        </p15:guide>
        <p15:guide id="3" pos="7244">
          <p15:clr>
            <a:srgbClr val="F26B43"/>
          </p15:clr>
        </p15:guide>
        <p15:guide id="4" pos="7436">
          <p15:clr>
            <a:srgbClr val="F26B43"/>
          </p15:clr>
        </p15:guide>
        <p15:guide id="5" pos="5420">
          <p15:clr>
            <a:srgbClr val="F26B43"/>
          </p15:clr>
        </p15:guide>
        <p15:guide id="6" pos="5228">
          <p15:clr>
            <a:srgbClr val="F26B43"/>
          </p15:clr>
        </p15:guide>
        <p15:guide id="7" pos="8252">
          <p15:clr>
            <a:srgbClr val="F26B43"/>
          </p15:clr>
        </p15:guide>
        <p15:guide id="8" pos="4412">
          <p15:clr>
            <a:srgbClr val="F26B43"/>
          </p15:clr>
        </p15:guide>
        <p15:guide id="9" pos="8444">
          <p15:clr>
            <a:srgbClr val="F26B43"/>
          </p15:clr>
        </p15:guide>
        <p15:guide id="10" pos="4220">
          <p15:clr>
            <a:srgbClr val="F26B43"/>
          </p15:clr>
        </p15:guide>
        <p15:guide id="11" pos="3404">
          <p15:clr>
            <a:srgbClr val="F26B43"/>
          </p15:clr>
        </p15:guide>
        <p15:guide id="12" pos="3212">
          <p15:clr>
            <a:srgbClr val="F26B43"/>
          </p15:clr>
        </p15:guide>
        <p15:guide id="13" pos="9260">
          <p15:clr>
            <a:srgbClr val="F26B43"/>
          </p15:clr>
        </p15:guide>
        <p15:guide id="14" pos="9452">
          <p15:clr>
            <a:srgbClr val="F26B43"/>
          </p15:clr>
        </p15:guide>
        <p15:guide id="15" pos="10268">
          <p15:clr>
            <a:srgbClr val="F26B43"/>
          </p15:clr>
        </p15:guide>
        <p15:guide id="16" pos="10460">
          <p15:clr>
            <a:srgbClr val="F26B43"/>
          </p15:clr>
        </p15:guide>
        <p15:guide id="17" pos="11276">
          <p15:clr>
            <a:srgbClr val="F26B43"/>
          </p15:clr>
        </p15:guide>
        <p15:guide id="18" pos="11468">
          <p15:clr>
            <a:srgbClr val="F26B43"/>
          </p15:clr>
        </p15:guide>
        <p15:guide id="19" pos="2396">
          <p15:clr>
            <a:srgbClr val="F26B43"/>
          </p15:clr>
        </p15:guide>
        <p15:guide id="20" pos="2204">
          <p15:clr>
            <a:srgbClr val="F26B43"/>
          </p15:clr>
        </p15:guide>
        <p15:guide id="21" pos="1388">
          <p15:clr>
            <a:srgbClr val="F26B43"/>
          </p15:clr>
        </p15:guide>
        <p15:guide id="22" pos="1196">
          <p15:clr>
            <a:srgbClr val="F26B43"/>
          </p15:clr>
        </p15:guide>
        <p15:guide id="23" pos="380">
          <p15:clr>
            <a:srgbClr val="F26B43"/>
          </p15:clr>
        </p15:guide>
        <p15:guide id="24" pos="12284">
          <p15:clr>
            <a:srgbClr val="F26B43"/>
          </p15:clr>
        </p15:guide>
        <p15:guide id="25" orient="horz" pos="394">
          <p15:clr>
            <a:srgbClr val="F26B43"/>
          </p15:clr>
        </p15:guide>
        <p15:guide id="26" orient="horz" pos="673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emf"/><Relationship Id="rId7" Type="http://schemas.openxmlformats.org/officeDocument/2006/relationships/image" Target="../media/image45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61.xml"/><Relationship Id="rId6" Type="http://schemas.openxmlformats.org/officeDocument/2006/relationships/image" Target="../media/image44.png"/><Relationship Id="rId5" Type="http://schemas.openxmlformats.org/officeDocument/2006/relationships/image" Target="../media/image43.svg"/><Relationship Id="rId10" Type="http://schemas.openxmlformats.org/officeDocument/2006/relationships/image" Target="../media/image48.jpeg"/><Relationship Id="rId4" Type="http://schemas.openxmlformats.org/officeDocument/2006/relationships/image" Target="../media/image42.png"/><Relationship Id="rId9" Type="http://schemas.openxmlformats.org/officeDocument/2006/relationships/image" Target="../media/image47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6.png"/><Relationship Id="rId3" Type="http://schemas.openxmlformats.org/officeDocument/2006/relationships/image" Target="../media/image41.emf"/><Relationship Id="rId7" Type="http://schemas.openxmlformats.org/officeDocument/2006/relationships/image" Target="../media/image45.svg"/><Relationship Id="rId2" Type="http://schemas.openxmlformats.org/officeDocument/2006/relationships/image" Target="../media/image40.png"/><Relationship Id="rId1" Type="http://schemas.openxmlformats.org/officeDocument/2006/relationships/slideLayout" Target="../slideLayouts/slideLayout161.xml"/><Relationship Id="rId6" Type="http://schemas.openxmlformats.org/officeDocument/2006/relationships/image" Target="../media/image44.png"/><Relationship Id="rId5" Type="http://schemas.openxmlformats.org/officeDocument/2006/relationships/image" Target="../media/image43.svg"/><Relationship Id="rId10" Type="http://schemas.openxmlformats.org/officeDocument/2006/relationships/image" Target="../media/image48.jpeg"/><Relationship Id="rId4" Type="http://schemas.openxmlformats.org/officeDocument/2006/relationships/image" Target="../media/image42.png"/><Relationship Id="rId9" Type="http://schemas.openxmlformats.org/officeDocument/2006/relationships/image" Target="../media/image47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Imagen 41">
            <a:extLst>
              <a:ext uri="{FF2B5EF4-FFF2-40B4-BE49-F238E27FC236}">
                <a16:creationId xmlns:a16="http://schemas.microsoft.com/office/drawing/2014/main" id="{1782AE59-5CF3-4162-A74E-86FB6C2865D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504" r="1937"/>
          <a:stretch/>
        </p:blipFill>
        <p:spPr>
          <a:xfrm>
            <a:off x="5258709" y="-4668"/>
            <a:ext cx="6900415" cy="6862668"/>
          </a:xfrm>
          <a:prstGeom prst="rect">
            <a:avLst/>
          </a:prstGeom>
        </p:spPr>
      </p:pic>
      <p:sp>
        <p:nvSpPr>
          <p:cNvPr id="119" name="Rectángulo 118">
            <a:extLst>
              <a:ext uri="{FF2B5EF4-FFF2-40B4-BE49-F238E27FC236}">
                <a16:creationId xmlns:a16="http://schemas.microsoft.com/office/drawing/2014/main" id="{CE9C714E-EBD4-4FAE-9CEB-6FC2A5F02E6A}"/>
              </a:ext>
            </a:extLst>
          </p:cNvPr>
          <p:cNvSpPr/>
          <p:nvPr/>
        </p:nvSpPr>
        <p:spPr>
          <a:xfrm>
            <a:off x="11136051" y="3208199"/>
            <a:ext cx="454843" cy="438301"/>
          </a:xfrm>
          <a:prstGeom prst="rect">
            <a:avLst/>
          </a:prstGeom>
          <a:solidFill>
            <a:srgbClr val="F1EF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7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0" name="Rectángulo 119">
            <a:extLst>
              <a:ext uri="{FF2B5EF4-FFF2-40B4-BE49-F238E27FC236}">
                <a16:creationId xmlns:a16="http://schemas.microsoft.com/office/drawing/2014/main" id="{8E85AFA6-AEAF-4491-810A-B47283CBAFBE}"/>
              </a:ext>
            </a:extLst>
          </p:cNvPr>
          <p:cNvSpPr/>
          <p:nvPr/>
        </p:nvSpPr>
        <p:spPr>
          <a:xfrm>
            <a:off x="11869024" y="3377415"/>
            <a:ext cx="290101" cy="219970"/>
          </a:xfrm>
          <a:prstGeom prst="rect">
            <a:avLst/>
          </a:prstGeom>
          <a:solidFill>
            <a:srgbClr val="F1EF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7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Rectángulo 42">
            <a:extLst>
              <a:ext uri="{FF2B5EF4-FFF2-40B4-BE49-F238E27FC236}">
                <a16:creationId xmlns:a16="http://schemas.microsoft.com/office/drawing/2014/main" id="{D9837CF5-E698-4FBC-858B-2B1ABE0D64B3}"/>
              </a:ext>
            </a:extLst>
          </p:cNvPr>
          <p:cNvSpPr/>
          <p:nvPr/>
        </p:nvSpPr>
        <p:spPr>
          <a:xfrm>
            <a:off x="10494800" y="553434"/>
            <a:ext cx="454843" cy="438301"/>
          </a:xfrm>
          <a:prstGeom prst="rect">
            <a:avLst/>
          </a:prstGeom>
          <a:solidFill>
            <a:srgbClr val="F1EF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7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7" name="Rectángulo 116">
            <a:extLst>
              <a:ext uri="{FF2B5EF4-FFF2-40B4-BE49-F238E27FC236}">
                <a16:creationId xmlns:a16="http://schemas.microsoft.com/office/drawing/2014/main" id="{452F7C0C-8AF2-49CC-BF3F-4986C0A74E84}"/>
              </a:ext>
            </a:extLst>
          </p:cNvPr>
          <p:cNvSpPr/>
          <p:nvPr/>
        </p:nvSpPr>
        <p:spPr>
          <a:xfrm>
            <a:off x="11227773" y="722650"/>
            <a:ext cx="290101" cy="219970"/>
          </a:xfrm>
          <a:prstGeom prst="rect">
            <a:avLst/>
          </a:prstGeom>
          <a:solidFill>
            <a:srgbClr val="F1EF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7" name="Conector angular 121">
            <a:extLst>
              <a:ext uri="{FF2B5EF4-FFF2-40B4-BE49-F238E27FC236}">
                <a16:creationId xmlns:a16="http://schemas.microsoft.com/office/drawing/2014/main" id="{7D419618-4441-42A9-98C3-7427FB1B5EBB}"/>
              </a:ext>
            </a:extLst>
          </p:cNvPr>
          <p:cNvCxnSpPr>
            <a:cxnSpLocks/>
          </p:cNvCxnSpPr>
          <p:nvPr/>
        </p:nvCxnSpPr>
        <p:spPr>
          <a:xfrm flipV="1">
            <a:off x="8107947" y="2208128"/>
            <a:ext cx="1605234" cy="1082866"/>
          </a:xfrm>
          <a:prstGeom prst="bentConnector3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uadroTexto 6">
            <a:extLst>
              <a:ext uri="{FF2B5EF4-FFF2-40B4-BE49-F238E27FC236}">
                <a16:creationId xmlns:a16="http://schemas.microsoft.com/office/drawing/2014/main" id="{CE8AD291-029F-4FD2-8927-9B47A8B3F1A3}"/>
              </a:ext>
            </a:extLst>
          </p:cNvPr>
          <p:cNvSpPr txBox="1"/>
          <p:nvPr/>
        </p:nvSpPr>
        <p:spPr>
          <a:xfrm>
            <a:off x="9628446" y="1900514"/>
            <a:ext cx="1659430" cy="61523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798" b="0" i="0" u="none" strike="noStrike" kern="1200" cap="none" spc="0" normalizeH="0" baseline="0" noProof="0" dirty="0">
                <a:ln>
                  <a:noFill/>
                </a:ln>
                <a:solidFill>
                  <a:srgbClr val="2149D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entral Chivor</a:t>
            </a:r>
          </a:p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600" b="0" i="1" u="none" strike="noStrike" kern="1200" cap="none" spc="0" normalizeH="0" baseline="0" noProof="0" dirty="0">
                <a:ln>
                  <a:noFill/>
                </a:ln>
                <a:solidFill>
                  <a:srgbClr val="2149D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000 MW</a:t>
            </a:r>
            <a:endParaRPr kumimoji="0" lang="es-CO" sz="1600" b="0" i="1" u="none" strike="noStrike" kern="1200" cap="none" spc="0" normalizeH="0" baseline="0" noProof="0" dirty="0">
              <a:ln>
                <a:noFill/>
              </a:ln>
              <a:solidFill>
                <a:srgbClr val="2149D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9" name="Conector angular 121">
            <a:extLst>
              <a:ext uri="{FF2B5EF4-FFF2-40B4-BE49-F238E27FC236}">
                <a16:creationId xmlns:a16="http://schemas.microsoft.com/office/drawing/2014/main" id="{83E64602-0989-4ED0-B848-1AC2BDE0489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636611" y="2153268"/>
            <a:ext cx="1513977" cy="571299"/>
          </a:xfrm>
          <a:prstGeom prst="bentConnector3">
            <a:avLst>
              <a:gd name="adj1" fmla="val 100000"/>
            </a:avLst>
          </a:prstGeom>
          <a:ln w="12700">
            <a:solidFill>
              <a:srgbClr val="2149D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CuadroTexto 90">
            <a:extLst>
              <a:ext uri="{FF2B5EF4-FFF2-40B4-BE49-F238E27FC236}">
                <a16:creationId xmlns:a16="http://schemas.microsoft.com/office/drawing/2014/main" id="{D56E197F-7B90-4BBF-B47A-88635E2C6B03}"/>
              </a:ext>
            </a:extLst>
          </p:cNvPr>
          <p:cNvSpPr txBox="1"/>
          <p:nvPr/>
        </p:nvSpPr>
        <p:spPr>
          <a:xfrm>
            <a:off x="8563956" y="1274410"/>
            <a:ext cx="1415901" cy="61523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798" b="0" i="0" u="none" strike="noStrike" kern="1200" cap="none" spc="0" normalizeH="0" baseline="0" noProof="0" dirty="0">
                <a:ln>
                  <a:noFill/>
                </a:ln>
                <a:solidFill>
                  <a:srgbClr val="2149D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CH Tunjita</a:t>
            </a:r>
          </a:p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600" b="0" i="1" u="none" strike="noStrike" kern="1200" cap="none" spc="0" normalizeH="0" baseline="0" noProof="0" dirty="0">
                <a:ln>
                  <a:noFill/>
                </a:ln>
                <a:solidFill>
                  <a:srgbClr val="2149D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 MW</a:t>
            </a:r>
            <a:endParaRPr kumimoji="0" lang="es-CO" sz="1600" b="0" i="1" u="none" strike="noStrike" kern="1200" cap="none" spc="0" normalizeH="0" baseline="0" noProof="0" dirty="0">
              <a:ln>
                <a:noFill/>
              </a:ln>
              <a:solidFill>
                <a:srgbClr val="2149D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0" name="Conector angular 121">
            <a:extLst>
              <a:ext uri="{FF2B5EF4-FFF2-40B4-BE49-F238E27FC236}">
                <a16:creationId xmlns:a16="http://schemas.microsoft.com/office/drawing/2014/main" id="{C8550608-D5C8-4B6F-97B7-E87B0D3AA4A2}"/>
              </a:ext>
            </a:extLst>
          </p:cNvPr>
          <p:cNvCxnSpPr>
            <a:cxnSpLocks/>
          </p:cNvCxnSpPr>
          <p:nvPr/>
        </p:nvCxnSpPr>
        <p:spPr>
          <a:xfrm>
            <a:off x="8263537" y="3616608"/>
            <a:ext cx="1764794" cy="1305808"/>
          </a:xfrm>
          <a:prstGeom prst="bentConnector3">
            <a:avLst>
              <a:gd name="adj1" fmla="val 50000"/>
            </a:avLst>
          </a:prstGeom>
          <a:ln w="12700">
            <a:solidFill>
              <a:srgbClr val="2149D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uadroTexto 19">
            <a:extLst>
              <a:ext uri="{FF2B5EF4-FFF2-40B4-BE49-F238E27FC236}">
                <a16:creationId xmlns:a16="http://schemas.microsoft.com/office/drawing/2014/main" id="{773AA64C-43D6-49A4-9D21-04B7003AB233}"/>
              </a:ext>
            </a:extLst>
          </p:cNvPr>
          <p:cNvSpPr txBox="1"/>
          <p:nvPr/>
        </p:nvSpPr>
        <p:spPr>
          <a:xfrm>
            <a:off x="6929506" y="2962340"/>
            <a:ext cx="845048" cy="3691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7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gotá</a:t>
            </a:r>
            <a:endParaRPr kumimoji="0" lang="es-CO" sz="179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riángulo isósceles 20">
            <a:extLst>
              <a:ext uri="{FF2B5EF4-FFF2-40B4-BE49-F238E27FC236}">
                <a16:creationId xmlns:a16="http://schemas.microsoft.com/office/drawing/2014/main" id="{189DE725-E6A4-459F-B2D9-B3EAC1173628}"/>
              </a:ext>
            </a:extLst>
          </p:cNvPr>
          <p:cNvSpPr/>
          <p:nvPr/>
        </p:nvSpPr>
        <p:spPr>
          <a:xfrm>
            <a:off x="7746863" y="3127491"/>
            <a:ext cx="83083" cy="99906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79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0000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7" name="Conector angular 121">
            <a:extLst>
              <a:ext uri="{FF2B5EF4-FFF2-40B4-BE49-F238E27FC236}">
                <a16:creationId xmlns:a16="http://schemas.microsoft.com/office/drawing/2014/main" id="{26217F29-DC4B-41D7-833D-F0B18F182B59}"/>
              </a:ext>
            </a:extLst>
          </p:cNvPr>
          <p:cNvCxnSpPr>
            <a:cxnSpLocks/>
          </p:cNvCxnSpPr>
          <p:nvPr/>
        </p:nvCxnSpPr>
        <p:spPr>
          <a:xfrm>
            <a:off x="5049605" y="5602904"/>
            <a:ext cx="392341" cy="1"/>
          </a:xfrm>
          <a:prstGeom prst="bentConnector3">
            <a:avLst>
              <a:gd name="adj1" fmla="val 50000"/>
            </a:avLst>
          </a:prstGeom>
          <a:ln w="12700">
            <a:solidFill>
              <a:srgbClr val="2149D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Conector angular 121">
            <a:extLst>
              <a:ext uri="{FF2B5EF4-FFF2-40B4-BE49-F238E27FC236}">
                <a16:creationId xmlns:a16="http://schemas.microsoft.com/office/drawing/2014/main" id="{D7278010-2C05-4309-8E91-76733E784555}"/>
              </a:ext>
            </a:extLst>
          </p:cNvPr>
          <p:cNvCxnSpPr>
            <a:cxnSpLocks/>
          </p:cNvCxnSpPr>
          <p:nvPr/>
        </p:nvCxnSpPr>
        <p:spPr>
          <a:xfrm flipV="1">
            <a:off x="5049603" y="6260528"/>
            <a:ext cx="387725" cy="2"/>
          </a:xfrm>
          <a:prstGeom prst="bentConnector3">
            <a:avLst/>
          </a:prstGeom>
          <a:ln w="12700">
            <a:solidFill>
              <a:srgbClr val="13A93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CuadroTexto 109">
            <a:extLst>
              <a:ext uri="{FF2B5EF4-FFF2-40B4-BE49-F238E27FC236}">
                <a16:creationId xmlns:a16="http://schemas.microsoft.com/office/drawing/2014/main" id="{25584712-B132-4007-B3D6-B176D062ACC1}"/>
              </a:ext>
            </a:extLst>
          </p:cNvPr>
          <p:cNvSpPr txBox="1"/>
          <p:nvPr/>
        </p:nvSpPr>
        <p:spPr>
          <a:xfrm>
            <a:off x="5449848" y="5310669"/>
            <a:ext cx="1289128" cy="5844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600" b="0" i="0" u="none" strike="noStrike" kern="1200" cap="none" spc="0" normalizeH="0" baseline="0" noProof="0" dirty="0">
                <a:ln>
                  <a:noFill/>
                </a:ln>
                <a:solidFill>
                  <a:srgbClr val="2149D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Centrales en operación</a:t>
            </a:r>
            <a:endParaRPr kumimoji="0" lang="es-CO" sz="1600" b="0" i="0" u="none" strike="noStrike" kern="1200" cap="none" spc="0" normalizeH="0" baseline="0" noProof="0" dirty="0">
              <a:ln>
                <a:noFill/>
              </a:ln>
              <a:solidFill>
                <a:srgbClr val="2149D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2" name="Conector angular 121">
            <a:extLst>
              <a:ext uri="{FF2B5EF4-FFF2-40B4-BE49-F238E27FC236}">
                <a16:creationId xmlns:a16="http://schemas.microsoft.com/office/drawing/2014/main" id="{723214A0-F58C-4106-AEA9-55B0A32606B4}"/>
              </a:ext>
            </a:extLst>
          </p:cNvPr>
          <p:cNvCxnSpPr>
            <a:cxnSpLocks/>
          </p:cNvCxnSpPr>
          <p:nvPr/>
        </p:nvCxnSpPr>
        <p:spPr>
          <a:xfrm rot="10800000" flipV="1">
            <a:off x="5821429" y="3539987"/>
            <a:ext cx="1565403" cy="175941"/>
          </a:xfrm>
          <a:prstGeom prst="bentConnector3">
            <a:avLst>
              <a:gd name="adj1" fmla="val 50000"/>
            </a:avLst>
          </a:prstGeom>
          <a:ln w="12700">
            <a:solidFill>
              <a:srgbClr val="00A2C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ángulo 43">
            <a:extLst>
              <a:ext uri="{FF2B5EF4-FFF2-40B4-BE49-F238E27FC236}">
                <a16:creationId xmlns:a16="http://schemas.microsoft.com/office/drawing/2014/main" id="{FE04B873-8B67-4C71-B221-FBF3F301A806}"/>
              </a:ext>
            </a:extLst>
          </p:cNvPr>
          <p:cNvSpPr/>
          <p:nvPr/>
        </p:nvSpPr>
        <p:spPr>
          <a:xfrm>
            <a:off x="11029662" y="4642825"/>
            <a:ext cx="185200" cy="142146"/>
          </a:xfrm>
          <a:prstGeom prst="rect">
            <a:avLst/>
          </a:prstGeom>
          <a:solidFill>
            <a:srgbClr val="F1EF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7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2" name="CuadroTexto 101">
            <a:extLst>
              <a:ext uri="{FF2B5EF4-FFF2-40B4-BE49-F238E27FC236}">
                <a16:creationId xmlns:a16="http://schemas.microsoft.com/office/drawing/2014/main" id="{41107705-2C22-47EB-AFA2-9257479E1BDD}"/>
              </a:ext>
            </a:extLst>
          </p:cNvPr>
          <p:cNvSpPr txBox="1"/>
          <p:nvPr/>
        </p:nvSpPr>
        <p:spPr>
          <a:xfrm>
            <a:off x="9755048" y="4522280"/>
            <a:ext cx="1544012" cy="61523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798" b="0" i="0" u="none" strike="noStrike" kern="1200" cap="none" spc="0" normalizeH="0" baseline="0" noProof="0" dirty="0">
                <a:ln>
                  <a:noFill/>
                </a:ln>
                <a:solidFill>
                  <a:srgbClr val="2149D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astilla Solar</a:t>
            </a:r>
          </a:p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600" b="0" i="1" u="none" strike="noStrike" kern="1200" cap="none" spc="0" normalizeH="0" baseline="0" noProof="0" dirty="0">
                <a:ln>
                  <a:noFill/>
                </a:ln>
                <a:solidFill>
                  <a:srgbClr val="2149D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1 MWp</a:t>
            </a:r>
            <a:endParaRPr kumimoji="0" lang="es-CO" sz="1600" b="0" i="1" u="none" strike="noStrike" kern="1200" cap="none" spc="0" normalizeH="0" baseline="0" noProof="0" dirty="0">
              <a:ln>
                <a:noFill/>
              </a:ln>
              <a:solidFill>
                <a:srgbClr val="2149D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ángulo 46">
            <a:extLst>
              <a:ext uri="{FF2B5EF4-FFF2-40B4-BE49-F238E27FC236}">
                <a16:creationId xmlns:a16="http://schemas.microsoft.com/office/drawing/2014/main" id="{F9ECC835-CFEC-4927-B3C1-A8BA92713D72}"/>
              </a:ext>
            </a:extLst>
          </p:cNvPr>
          <p:cNvSpPr/>
          <p:nvPr/>
        </p:nvSpPr>
        <p:spPr>
          <a:xfrm>
            <a:off x="11344157" y="2411226"/>
            <a:ext cx="127560" cy="76827"/>
          </a:xfrm>
          <a:prstGeom prst="rect">
            <a:avLst/>
          </a:prstGeom>
          <a:solidFill>
            <a:srgbClr val="F1EF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7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6" name="Rectángulo 125">
            <a:extLst>
              <a:ext uri="{FF2B5EF4-FFF2-40B4-BE49-F238E27FC236}">
                <a16:creationId xmlns:a16="http://schemas.microsoft.com/office/drawing/2014/main" id="{A7B5477B-B073-4521-B014-565953BD9F32}"/>
              </a:ext>
            </a:extLst>
          </p:cNvPr>
          <p:cNvSpPr/>
          <p:nvPr/>
        </p:nvSpPr>
        <p:spPr>
          <a:xfrm>
            <a:off x="10093795" y="1757411"/>
            <a:ext cx="290101" cy="90285"/>
          </a:xfrm>
          <a:prstGeom prst="rect">
            <a:avLst/>
          </a:prstGeom>
          <a:solidFill>
            <a:srgbClr val="F9F7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7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5" name="Conector angular 121">
            <a:extLst>
              <a:ext uri="{FF2B5EF4-FFF2-40B4-BE49-F238E27FC236}">
                <a16:creationId xmlns:a16="http://schemas.microsoft.com/office/drawing/2014/main" id="{7FD8C64A-E20E-4786-A3B8-55128D284F8B}"/>
              </a:ext>
            </a:extLst>
          </p:cNvPr>
          <p:cNvCxnSpPr>
            <a:cxnSpLocks/>
            <a:endCxn id="57" idx="1"/>
          </p:cNvCxnSpPr>
          <p:nvPr/>
        </p:nvCxnSpPr>
        <p:spPr>
          <a:xfrm rot="16200000" flipH="1">
            <a:off x="7876539" y="4068078"/>
            <a:ext cx="2045122" cy="1340824"/>
          </a:xfrm>
          <a:prstGeom prst="bentConnector2">
            <a:avLst/>
          </a:prstGeom>
          <a:ln w="12700">
            <a:solidFill>
              <a:srgbClr val="2149D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uadroTexto 56">
            <a:extLst>
              <a:ext uri="{FF2B5EF4-FFF2-40B4-BE49-F238E27FC236}">
                <a16:creationId xmlns:a16="http://schemas.microsoft.com/office/drawing/2014/main" id="{8736B277-DDE3-4C8E-B614-D64BBFD7A74B}"/>
              </a:ext>
            </a:extLst>
          </p:cNvPr>
          <p:cNvSpPr txBox="1"/>
          <p:nvPr/>
        </p:nvSpPr>
        <p:spPr>
          <a:xfrm>
            <a:off x="9569512" y="5438206"/>
            <a:ext cx="1996806" cy="645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798" b="0" i="0" u="none" strike="noStrike" kern="1200" cap="none" spc="0" normalizeH="0" baseline="0" noProof="0" dirty="0">
                <a:ln>
                  <a:noFill/>
                </a:ln>
                <a:solidFill>
                  <a:srgbClr val="2149D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an Fernando Solar </a:t>
            </a:r>
            <a:r>
              <a:rPr kumimoji="0" lang="es-MX" sz="1600" b="0" i="1" u="none" strike="noStrike" kern="1200" cap="none" spc="0" normalizeH="0" baseline="0" noProof="0" dirty="0">
                <a:ln>
                  <a:noFill/>
                </a:ln>
                <a:solidFill>
                  <a:srgbClr val="2149D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61 MWp</a:t>
            </a:r>
            <a:endParaRPr kumimoji="0" lang="es-CO" sz="1600" b="0" i="1" u="none" strike="noStrike" kern="1200" cap="none" spc="0" normalizeH="0" baseline="0" noProof="0" dirty="0">
              <a:ln>
                <a:noFill/>
              </a:ln>
              <a:solidFill>
                <a:srgbClr val="2149D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2B2B8A1C-F44D-4642-8720-7EB9F92D4772}"/>
              </a:ext>
            </a:extLst>
          </p:cNvPr>
          <p:cNvSpPr/>
          <p:nvPr/>
        </p:nvSpPr>
        <p:spPr>
          <a:xfrm>
            <a:off x="11141308" y="5719488"/>
            <a:ext cx="105510" cy="45707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itle 6">
            <a:extLst>
              <a:ext uri="{FF2B5EF4-FFF2-40B4-BE49-F238E27FC236}">
                <a16:creationId xmlns:a16="http://schemas.microsoft.com/office/drawing/2014/main" id="{EBAE6D28-F2FD-ED48-8D2D-5939C74F6BCD}"/>
              </a:ext>
            </a:extLst>
          </p:cNvPr>
          <p:cNvSpPr txBox="1">
            <a:spLocks/>
          </p:cNvSpPr>
          <p:nvPr/>
        </p:nvSpPr>
        <p:spPr>
          <a:xfrm>
            <a:off x="270886" y="409843"/>
            <a:ext cx="4788384" cy="12003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9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Centrales renovables</a:t>
            </a:r>
            <a:br>
              <a:rPr kumimoji="0" lang="x-non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pic>
        <p:nvPicPr>
          <p:cNvPr id="51" name="Imagen 50">
            <a:extLst>
              <a:ext uri="{FF2B5EF4-FFF2-40B4-BE49-F238E27FC236}">
                <a16:creationId xmlns:a16="http://schemas.microsoft.com/office/drawing/2014/main" id="{56C2BA55-955B-FF40-9871-2E885B1B0D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42" y="1398474"/>
            <a:ext cx="4299880" cy="75646"/>
          </a:xfrm>
          <a:prstGeom prst="rect">
            <a:avLst/>
          </a:prstGeom>
        </p:spPr>
      </p:pic>
      <p:pic>
        <p:nvPicPr>
          <p:cNvPr id="15" name="Gráfico 14">
            <a:extLst>
              <a:ext uri="{FF2B5EF4-FFF2-40B4-BE49-F238E27FC236}">
                <a16:creationId xmlns:a16="http://schemas.microsoft.com/office/drawing/2014/main" id="{9A3C31EB-4834-EC4F-877E-22C45C5B6C4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899827" y="1345473"/>
            <a:ext cx="456090" cy="456090"/>
          </a:xfrm>
          <a:prstGeom prst="rect">
            <a:avLst/>
          </a:prstGeom>
        </p:spPr>
      </p:pic>
      <p:pic>
        <p:nvPicPr>
          <p:cNvPr id="58" name="Gráfico 57">
            <a:extLst>
              <a:ext uri="{FF2B5EF4-FFF2-40B4-BE49-F238E27FC236}">
                <a16:creationId xmlns:a16="http://schemas.microsoft.com/office/drawing/2014/main" id="{23F38BFF-7304-9447-9E60-B3EA7E4C5B0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83923" y="1944822"/>
            <a:ext cx="456090" cy="456090"/>
          </a:xfrm>
          <a:prstGeom prst="rect">
            <a:avLst/>
          </a:prstGeom>
        </p:spPr>
      </p:pic>
      <p:pic>
        <p:nvPicPr>
          <p:cNvPr id="17" name="Gráfico 16">
            <a:extLst>
              <a:ext uri="{FF2B5EF4-FFF2-40B4-BE49-F238E27FC236}">
                <a16:creationId xmlns:a16="http://schemas.microsoft.com/office/drawing/2014/main" id="{7BAF94BE-40DD-C643-AF2E-BD579CFD050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136051" y="4551464"/>
            <a:ext cx="570420" cy="570420"/>
          </a:xfrm>
          <a:prstGeom prst="rect">
            <a:avLst/>
          </a:prstGeom>
        </p:spPr>
      </p:pic>
      <p:pic>
        <p:nvPicPr>
          <p:cNvPr id="62" name="Gráfico 61">
            <a:extLst>
              <a:ext uri="{FF2B5EF4-FFF2-40B4-BE49-F238E27FC236}">
                <a16:creationId xmlns:a16="http://schemas.microsoft.com/office/drawing/2014/main" id="{1014366E-C7E8-8E42-B7A2-7AC91F3B994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519545" y="5457131"/>
            <a:ext cx="570420" cy="570420"/>
          </a:xfrm>
          <a:prstGeom prst="rect">
            <a:avLst/>
          </a:prstGeom>
        </p:spPr>
      </p:pic>
      <p:pic>
        <p:nvPicPr>
          <p:cNvPr id="23" name="Gráfico 22">
            <a:extLst>
              <a:ext uri="{FF2B5EF4-FFF2-40B4-BE49-F238E27FC236}">
                <a16:creationId xmlns:a16="http://schemas.microsoft.com/office/drawing/2014/main" id="{45CF7196-BA5C-4240-898E-828053E5BE0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471717" y="6475459"/>
            <a:ext cx="409215" cy="167345"/>
          </a:xfrm>
          <a:prstGeom prst="rect">
            <a:avLst/>
          </a:prstGeom>
        </p:spPr>
      </p:pic>
      <p:sp>
        <p:nvSpPr>
          <p:cNvPr id="113" name="CuadroTexto 112">
            <a:extLst>
              <a:ext uri="{FF2B5EF4-FFF2-40B4-BE49-F238E27FC236}">
                <a16:creationId xmlns:a16="http://schemas.microsoft.com/office/drawing/2014/main" id="{5D5856DE-EBC3-4912-A0AE-5431DB60EF01}"/>
              </a:ext>
            </a:extLst>
          </p:cNvPr>
          <p:cNvSpPr txBox="1"/>
          <p:nvPr/>
        </p:nvSpPr>
        <p:spPr>
          <a:xfrm>
            <a:off x="4616495" y="3325571"/>
            <a:ext cx="1428596" cy="61523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798" b="0" i="0" u="none" strike="noStrike" kern="1200" cap="none" spc="0" normalizeH="0" baseline="0" noProof="0" dirty="0">
                <a:ln>
                  <a:noFill/>
                </a:ln>
                <a:solidFill>
                  <a:srgbClr val="214AD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risas Solar</a:t>
            </a:r>
          </a:p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600" i="1" dirty="0">
                <a:solidFill>
                  <a:srgbClr val="214A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</a:t>
            </a:r>
            <a:r>
              <a:rPr kumimoji="0" lang="es-MX" sz="1600" b="0" i="1" u="none" strike="noStrike" kern="1200" cap="none" spc="0" normalizeH="0" baseline="0" noProof="0" dirty="0">
                <a:ln>
                  <a:noFill/>
                </a:ln>
                <a:solidFill>
                  <a:srgbClr val="214AD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s-MX" sz="1600" b="0" i="1" u="none" strike="noStrike" kern="1200" cap="none" spc="0" normalizeH="0" baseline="0" noProof="0" dirty="0" err="1">
                <a:ln>
                  <a:noFill/>
                </a:ln>
                <a:solidFill>
                  <a:srgbClr val="214AD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Wp</a:t>
            </a:r>
            <a:endParaRPr kumimoji="0" lang="es-CO" sz="1600" b="0" i="1" u="none" strike="noStrike" kern="1200" cap="none" spc="0" normalizeH="0" baseline="0" noProof="0" dirty="0">
              <a:ln>
                <a:noFill/>
              </a:ln>
              <a:solidFill>
                <a:srgbClr val="214AD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3" name="Gráfico 52">
            <a:extLst>
              <a:ext uri="{FF2B5EF4-FFF2-40B4-BE49-F238E27FC236}">
                <a16:creationId xmlns:a16="http://schemas.microsoft.com/office/drawing/2014/main" id="{A65621BA-F797-4C58-89C1-F48739587CB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22395" y="2842281"/>
            <a:ext cx="570420" cy="570420"/>
          </a:xfrm>
          <a:prstGeom prst="rect">
            <a:avLst/>
          </a:prstGeom>
        </p:spPr>
      </p:pic>
      <p:pic>
        <p:nvPicPr>
          <p:cNvPr id="3" name="Imagen 2" descr="Imagen que contiene pasto, verde, campo, calle&#10;&#10;Descripción generada automáticamente">
            <a:extLst>
              <a:ext uri="{FF2B5EF4-FFF2-40B4-BE49-F238E27FC236}">
                <a16:creationId xmlns:a16="http://schemas.microsoft.com/office/drawing/2014/main" id="{3CEFCFA3-96F6-B4F2-B9C0-0849B6CCDABD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89"/>
          <a:stretch/>
        </p:blipFill>
        <p:spPr>
          <a:xfrm>
            <a:off x="275953" y="2269691"/>
            <a:ext cx="4171055" cy="3539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4240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2" name="Imagen 41">
            <a:extLst>
              <a:ext uri="{FF2B5EF4-FFF2-40B4-BE49-F238E27FC236}">
                <a16:creationId xmlns:a16="http://schemas.microsoft.com/office/drawing/2014/main" id="{1782AE59-5CF3-4162-A74E-86FB6C2865D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41504" r="1937"/>
          <a:stretch/>
        </p:blipFill>
        <p:spPr>
          <a:xfrm>
            <a:off x="5258709" y="-4668"/>
            <a:ext cx="6900415" cy="6862668"/>
          </a:xfrm>
          <a:prstGeom prst="rect">
            <a:avLst/>
          </a:prstGeom>
        </p:spPr>
      </p:pic>
      <p:sp>
        <p:nvSpPr>
          <p:cNvPr id="119" name="Rectángulo 118">
            <a:extLst>
              <a:ext uri="{FF2B5EF4-FFF2-40B4-BE49-F238E27FC236}">
                <a16:creationId xmlns:a16="http://schemas.microsoft.com/office/drawing/2014/main" id="{CE9C714E-EBD4-4FAE-9CEB-6FC2A5F02E6A}"/>
              </a:ext>
            </a:extLst>
          </p:cNvPr>
          <p:cNvSpPr/>
          <p:nvPr/>
        </p:nvSpPr>
        <p:spPr>
          <a:xfrm>
            <a:off x="11136051" y="3208199"/>
            <a:ext cx="454843" cy="438301"/>
          </a:xfrm>
          <a:prstGeom prst="rect">
            <a:avLst/>
          </a:prstGeom>
          <a:solidFill>
            <a:srgbClr val="F1EF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7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0" name="Rectángulo 119">
            <a:extLst>
              <a:ext uri="{FF2B5EF4-FFF2-40B4-BE49-F238E27FC236}">
                <a16:creationId xmlns:a16="http://schemas.microsoft.com/office/drawing/2014/main" id="{8E85AFA6-AEAF-4491-810A-B47283CBAFBE}"/>
              </a:ext>
            </a:extLst>
          </p:cNvPr>
          <p:cNvSpPr/>
          <p:nvPr/>
        </p:nvSpPr>
        <p:spPr>
          <a:xfrm>
            <a:off x="11869024" y="3377415"/>
            <a:ext cx="290101" cy="219970"/>
          </a:xfrm>
          <a:prstGeom prst="rect">
            <a:avLst/>
          </a:prstGeom>
          <a:solidFill>
            <a:srgbClr val="F1EF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7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" name="Rectángulo 42">
            <a:extLst>
              <a:ext uri="{FF2B5EF4-FFF2-40B4-BE49-F238E27FC236}">
                <a16:creationId xmlns:a16="http://schemas.microsoft.com/office/drawing/2014/main" id="{D9837CF5-E698-4FBC-858B-2B1ABE0D64B3}"/>
              </a:ext>
            </a:extLst>
          </p:cNvPr>
          <p:cNvSpPr/>
          <p:nvPr/>
        </p:nvSpPr>
        <p:spPr>
          <a:xfrm>
            <a:off x="10494800" y="553434"/>
            <a:ext cx="454843" cy="438301"/>
          </a:xfrm>
          <a:prstGeom prst="rect">
            <a:avLst/>
          </a:prstGeom>
          <a:solidFill>
            <a:srgbClr val="F1EF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7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17" name="Rectángulo 116">
            <a:extLst>
              <a:ext uri="{FF2B5EF4-FFF2-40B4-BE49-F238E27FC236}">
                <a16:creationId xmlns:a16="http://schemas.microsoft.com/office/drawing/2014/main" id="{452F7C0C-8AF2-49CC-BF3F-4986C0A74E84}"/>
              </a:ext>
            </a:extLst>
          </p:cNvPr>
          <p:cNvSpPr/>
          <p:nvPr/>
        </p:nvSpPr>
        <p:spPr>
          <a:xfrm>
            <a:off x="11227773" y="722650"/>
            <a:ext cx="290101" cy="219970"/>
          </a:xfrm>
          <a:prstGeom prst="rect">
            <a:avLst/>
          </a:prstGeom>
          <a:solidFill>
            <a:srgbClr val="F1EF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798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77" name="Conector angular 121">
            <a:extLst>
              <a:ext uri="{FF2B5EF4-FFF2-40B4-BE49-F238E27FC236}">
                <a16:creationId xmlns:a16="http://schemas.microsoft.com/office/drawing/2014/main" id="{7D419618-4441-42A9-98C3-7427FB1B5EBB}"/>
              </a:ext>
            </a:extLst>
          </p:cNvPr>
          <p:cNvCxnSpPr>
            <a:cxnSpLocks/>
          </p:cNvCxnSpPr>
          <p:nvPr/>
        </p:nvCxnSpPr>
        <p:spPr>
          <a:xfrm flipV="1">
            <a:off x="8107947" y="2208128"/>
            <a:ext cx="1605234" cy="1082866"/>
          </a:xfrm>
          <a:prstGeom prst="bentConnector3">
            <a:avLst/>
          </a:prstGeom>
          <a:ln w="1270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uadroTexto 6">
            <a:extLst>
              <a:ext uri="{FF2B5EF4-FFF2-40B4-BE49-F238E27FC236}">
                <a16:creationId xmlns:a16="http://schemas.microsoft.com/office/drawing/2014/main" id="{CE8AD291-029F-4FD2-8927-9B47A8B3F1A3}"/>
              </a:ext>
            </a:extLst>
          </p:cNvPr>
          <p:cNvSpPr txBox="1"/>
          <p:nvPr/>
        </p:nvSpPr>
        <p:spPr>
          <a:xfrm>
            <a:off x="9628446" y="1900514"/>
            <a:ext cx="1659430" cy="61523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798" b="0" i="0" u="none" strike="noStrike" kern="1200" cap="none" spc="0" normalizeH="0" baseline="0" noProof="0" dirty="0">
                <a:ln>
                  <a:noFill/>
                </a:ln>
                <a:solidFill>
                  <a:srgbClr val="2149D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entral Chivor</a:t>
            </a:r>
          </a:p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600" b="0" i="1" u="none" strike="noStrike" kern="1200" cap="none" spc="0" normalizeH="0" baseline="0" noProof="0" dirty="0">
                <a:ln>
                  <a:noFill/>
                </a:ln>
                <a:solidFill>
                  <a:srgbClr val="2149D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1.000 MW</a:t>
            </a:r>
            <a:endParaRPr kumimoji="0" lang="es-CO" sz="1600" b="0" i="1" u="none" strike="noStrike" kern="1200" cap="none" spc="0" normalizeH="0" baseline="0" noProof="0" dirty="0">
              <a:ln>
                <a:noFill/>
              </a:ln>
              <a:solidFill>
                <a:srgbClr val="2149D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79" name="Conector angular 121">
            <a:extLst>
              <a:ext uri="{FF2B5EF4-FFF2-40B4-BE49-F238E27FC236}">
                <a16:creationId xmlns:a16="http://schemas.microsoft.com/office/drawing/2014/main" id="{83E64602-0989-4ED0-B848-1AC2BDE0489F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7636611" y="2153268"/>
            <a:ext cx="1513977" cy="571299"/>
          </a:xfrm>
          <a:prstGeom prst="bentConnector3">
            <a:avLst>
              <a:gd name="adj1" fmla="val 100000"/>
            </a:avLst>
          </a:prstGeom>
          <a:ln w="12700">
            <a:solidFill>
              <a:srgbClr val="2149D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1" name="CuadroTexto 90">
            <a:extLst>
              <a:ext uri="{FF2B5EF4-FFF2-40B4-BE49-F238E27FC236}">
                <a16:creationId xmlns:a16="http://schemas.microsoft.com/office/drawing/2014/main" id="{D56E197F-7B90-4BBF-B47A-88635E2C6B03}"/>
              </a:ext>
            </a:extLst>
          </p:cNvPr>
          <p:cNvSpPr txBox="1"/>
          <p:nvPr/>
        </p:nvSpPr>
        <p:spPr>
          <a:xfrm>
            <a:off x="8563956" y="1274410"/>
            <a:ext cx="1415901" cy="61523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798" b="0" i="0" u="none" strike="noStrike" kern="1200" cap="none" spc="0" normalizeH="0" baseline="0" noProof="0" dirty="0">
                <a:ln>
                  <a:noFill/>
                </a:ln>
                <a:solidFill>
                  <a:srgbClr val="2149D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PCH Tunjita</a:t>
            </a:r>
          </a:p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600" b="0" i="1" u="none" strike="noStrike" kern="1200" cap="none" spc="0" normalizeH="0" baseline="0" noProof="0" dirty="0">
                <a:ln>
                  <a:noFill/>
                </a:ln>
                <a:solidFill>
                  <a:srgbClr val="2149D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0 MW</a:t>
            </a:r>
            <a:endParaRPr kumimoji="0" lang="es-CO" sz="1600" b="0" i="1" u="none" strike="noStrike" kern="1200" cap="none" spc="0" normalizeH="0" baseline="0" noProof="0" dirty="0">
              <a:ln>
                <a:noFill/>
              </a:ln>
              <a:solidFill>
                <a:srgbClr val="2149D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100" name="Conector angular 121">
            <a:extLst>
              <a:ext uri="{FF2B5EF4-FFF2-40B4-BE49-F238E27FC236}">
                <a16:creationId xmlns:a16="http://schemas.microsoft.com/office/drawing/2014/main" id="{C8550608-D5C8-4B6F-97B7-E87B0D3AA4A2}"/>
              </a:ext>
            </a:extLst>
          </p:cNvPr>
          <p:cNvCxnSpPr>
            <a:cxnSpLocks/>
          </p:cNvCxnSpPr>
          <p:nvPr/>
        </p:nvCxnSpPr>
        <p:spPr>
          <a:xfrm>
            <a:off x="8263537" y="3616608"/>
            <a:ext cx="1764794" cy="1305808"/>
          </a:xfrm>
          <a:prstGeom prst="bentConnector3">
            <a:avLst>
              <a:gd name="adj1" fmla="val 50000"/>
            </a:avLst>
          </a:prstGeom>
          <a:ln w="12700">
            <a:solidFill>
              <a:srgbClr val="2149D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CuadroTexto 19">
            <a:extLst>
              <a:ext uri="{FF2B5EF4-FFF2-40B4-BE49-F238E27FC236}">
                <a16:creationId xmlns:a16="http://schemas.microsoft.com/office/drawing/2014/main" id="{773AA64C-43D6-49A4-9D21-04B7003AB233}"/>
              </a:ext>
            </a:extLst>
          </p:cNvPr>
          <p:cNvSpPr txBox="1"/>
          <p:nvPr/>
        </p:nvSpPr>
        <p:spPr>
          <a:xfrm>
            <a:off x="6929506" y="2962340"/>
            <a:ext cx="845048" cy="36914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798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ogotá</a:t>
            </a:r>
            <a:endParaRPr kumimoji="0" lang="es-CO" sz="179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1" name="Triángulo isósceles 20">
            <a:extLst>
              <a:ext uri="{FF2B5EF4-FFF2-40B4-BE49-F238E27FC236}">
                <a16:creationId xmlns:a16="http://schemas.microsoft.com/office/drawing/2014/main" id="{189DE725-E6A4-459F-B2D9-B3EAC1173628}"/>
              </a:ext>
            </a:extLst>
          </p:cNvPr>
          <p:cNvSpPr/>
          <p:nvPr/>
        </p:nvSpPr>
        <p:spPr>
          <a:xfrm>
            <a:off x="7746863" y="3127491"/>
            <a:ext cx="83083" cy="99906"/>
          </a:xfrm>
          <a:prstGeom prst="triangle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798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highlight>
                <a:srgbClr val="0000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07" name="Conector angular 121">
            <a:extLst>
              <a:ext uri="{FF2B5EF4-FFF2-40B4-BE49-F238E27FC236}">
                <a16:creationId xmlns:a16="http://schemas.microsoft.com/office/drawing/2014/main" id="{26217F29-DC4B-41D7-833D-F0B18F182B59}"/>
              </a:ext>
            </a:extLst>
          </p:cNvPr>
          <p:cNvCxnSpPr>
            <a:cxnSpLocks/>
          </p:cNvCxnSpPr>
          <p:nvPr/>
        </p:nvCxnSpPr>
        <p:spPr>
          <a:xfrm>
            <a:off x="5049605" y="5602904"/>
            <a:ext cx="392341" cy="1"/>
          </a:xfrm>
          <a:prstGeom prst="bentConnector3">
            <a:avLst>
              <a:gd name="adj1" fmla="val 50000"/>
            </a:avLst>
          </a:prstGeom>
          <a:ln w="12700">
            <a:solidFill>
              <a:srgbClr val="2149D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9" name="Conector angular 121">
            <a:extLst>
              <a:ext uri="{FF2B5EF4-FFF2-40B4-BE49-F238E27FC236}">
                <a16:creationId xmlns:a16="http://schemas.microsoft.com/office/drawing/2014/main" id="{D7278010-2C05-4309-8E91-76733E784555}"/>
              </a:ext>
            </a:extLst>
          </p:cNvPr>
          <p:cNvCxnSpPr>
            <a:cxnSpLocks/>
          </p:cNvCxnSpPr>
          <p:nvPr/>
        </p:nvCxnSpPr>
        <p:spPr>
          <a:xfrm flipV="1">
            <a:off x="5049603" y="6260528"/>
            <a:ext cx="387725" cy="2"/>
          </a:xfrm>
          <a:prstGeom prst="bentConnector3">
            <a:avLst/>
          </a:prstGeom>
          <a:ln w="12700">
            <a:solidFill>
              <a:srgbClr val="13A936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0" name="CuadroTexto 109">
            <a:extLst>
              <a:ext uri="{FF2B5EF4-FFF2-40B4-BE49-F238E27FC236}">
                <a16:creationId xmlns:a16="http://schemas.microsoft.com/office/drawing/2014/main" id="{25584712-B132-4007-B3D6-B176D062ACC1}"/>
              </a:ext>
            </a:extLst>
          </p:cNvPr>
          <p:cNvSpPr txBox="1"/>
          <p:nvPr/>
        </p:nvSpPr>
        <p:spPr>
          <a:xfrm>
            <a:off x="5447624" y="5403787"/>
            <a:ext cx="1289128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2149D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peration</a:t>
            </a:r>
            <a:endParaRPr kumimoji="0" lang="es-CO" sz="1600" b="0" i="0" u="none" strike="noStrike" kern="1200" cap="none" spc="0" normalizeH="0" baseline="0" noProof="0" dirty="0">
              <a:ln>
                <a:noFill/>
              </a:ln>
              <a:solidFill>
                <a:srgbClr val="2149D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12" name="Conector angular 121">
            <a:extLst>
              <a:ext uri="{FF2B5EF4-FFF2-40B4-BE49-F238E27FC236}">
                <a16:creationId xmlns:a16="http://schemas.microsoft.com/office/drawing/2014/main" id="{723214A0-F58C-4106-AEA9-55B0A32606B4}"/>
              </a:ext>
            </a:extLst>
          </p:cNvPr>
          <p:cNvCxnSpPr>
            <a:cxnSpLocks/>
          </p:cNvCxnSpPr>
          <p:nvPr/>
        </p:nvCxnSpPr>
        <p:spPr>
          <a:xfrm rot="10800000" flipV="1">
            <a:off x="5821429" y="3539987"/>
            <a:ext cx="1565403" cy="175941"/>
          </a:xfrm>
          <a:prstGeom prst="bentConnector3">
            <a:avLst>
              <a:gd name="adj1" fmla="val 50000"/>
            </a:avLst>
          </a:prstGeom>
          <a:ln w="12700">
            <a:solidFill>
              <a:srgbClr val="00A2C7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ángulo 43">
            <a:extLst>
              <a:ext uri="{FF2B5EF4-FFF2-40B4-BE49-F238E27FC236}">
                <a16:creationId xmlns:a16="http://schemas.microsoft.com/office/drawing/2014/main" id="{FE04B873-8B67-4C71-B221-FBF3F301A806}"/>
              </a:ext>
            </a:extLst>
          </p:cNvPr>
          <p:cNvSpPr/>
          <p:nvPr/>
        </p:nvSpPr>
        <p:spPr>
          <a:xfrm>
            <a:off x="11029662" y="4642825"/>
            <a:ext cx="185200" cy="142146"/>
          </a:xfrm>
          <a:prstGeom prst="rect">
            <a:avLst/>
          </a:prstGeom>
          <a:solidFill>
            <a:srgbClr val="F1EF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7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02" name="CuadroTexto 101">
            <a:extLst>
              <a:ext uri="{FF2B5EF4-FFF2-40B4-BE49-F238E27FC236}">
                <a16:creationId xmlns:a16="http://schemas.microsoft.com/office/drawing/2014/main" id="{41107705-2C22-47EB-AFA2-9257479E1BDD}"/>
              </a:ext>
            </a:extLst>
          </p:cNvPr>
          <p:cNvSpPr txBox="1"/>
          <p:nvPr/>
        </p:nvSpPr>
        <p:spPr>
          <a:xfrm>
            <a:off x="9755048" y="4522280"/>
            <a:ext cx="1544012" cy="61523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798" b="0" i="0" u="none" strike="noStrike" kern="1200" cap="none" spc="0" normalizeH="0" baseline="0" noProof="0" dirty="0">
                <a:ln>
                  <a:noFill/>
                </a:ln>
                <a:solidFill>
                  <a:srgbClr val="2149D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Castilla Solar</a:t>
            </a:r>
          </a:p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600" b="0" i="1" u="none" strike="noStrike" kern="1200" cap="none" spc="0" normalizeH="0" baseline="0" noProof="0" dirty="0">
                <a:ln>
                  <a:noFill/>
                </a:ln>
                <a:solidFill>
                  <a:srgbClr val="2149D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1 MWp</a:t>
            </a:r>
            <a:endParaRPr kumimoji="0" lang="es-CO" sz="1600" b="0" i="1" u="none" strike="noStrike" kern="1200" cap="none" spc="0" normalizeH="0" baseline="0" noProof="0" dirty="0">
              <a:ln>
                <a:noFill/>
              </a:ln>
              <a:solidFill>
                <a:srgbClr val="2149D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Rectángulo 46">
            <a:extLst>
              <a:ext uri="{FF2B5EF4-FFF2-40B4-BE49-F238E27FC236}">
                <a16:creationId xmlns:a16="http://schemas.microsoft.com/office/drawing/2014/main" id="{F9ECC835-CFEC-4927-B3C1-A8BA92713D72}"/>
              </a:ext>
            </a:extLst>
          </p:cNvPr>
          <p:cNvSpPr/>
          <p:nvPr/>
        </p:nvSpPr>
        <p:spPr>
          <a:xfrm>
            <a:off x="11344157" y="2411226"/>
            <a:ext cx="127560" cy="76827"/>
          </a:xfrm>
          <a:prstGeom prst="rect">
            <a:avLst/>
          </a:prstGeom>
          <a:solidFill>
            <a:srgbClr val="F1EFF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7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26" name="Rectángulo 125">
            <a:extLst>
              <a:ext uri="{FF2B5EF4-FFF2-40B4-BE49-F238E27FC236}">
                <a16:creationId xmlns:a16="http://schemas.microsoft.com/office/drawing/2014/main" id="{A7B5477B-B073-4521-B014-565953BD9F32}"/>
              </a:ext>
            </a:extLst>
          </p:cNvPr>
          <p:cNvSpPr/>
          <p:nvPr/>
        </p:nvSpPr>
        <p:spPr>
          <a:xfrm>
            <a:off x="10093795" y="1757411"/>
            <a:ext cx="290101" cy="90285"/>
          </a:xfrm>
          <a:prstGeom prst="rect">
            <a:avLst/>
          </a:prstGeom>
          <a:solidFill>
            <a:srgbClr val="F9F7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798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5" name="Conector angular 121">
            <a:extLst>
              <a:ext uri="{FF2B5EF4-FFF2-40B4-BE49-F238E27FC236}">
                <a16:creationId xmlns:a16="http://schemas.microsoft.com/office/drawing/2014/main" id="{7FD8C64A-E20E-4786-A3B8-55128D284F8B}"/>
              </a:ext>
            </a:extLst>
          </p:cNvPr>
          <p:cNvCxnSpPr>
            <a:cxnSpLocks/>
            <a:endCxn id="57" idx="1"/>
          </p:cNvCxnSpPr>
          <p:nvPr/>
        </p:nvCxnSpPr>
        <p:spPr>
          <a:xfrm rot="16200000" flipH="1">
            <a:off x="7876539" y="4068078"/>
            <a:ext cx="2045122" cy="1340824"/>
          </a:xfrm>
          <a:prstGeom prst="bentConnector2">
            <a:avLst/>
          </a:prstGeom>
          <a:ln w="12700">
            <a:solidFill>
              <a:srgbClr val="2149DF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uadroTexto 56">
            <a:extLst>
              <a:ext uri="{FF2B5EF4-FFF2-40B4-BE49-F238E27FC236}">
                <a16:creationId xmlns:a16="http://schemas.microsoft.com/office/drawing/2014/main" id="{8736B277-DDE3-4C8E-B614-D64BBFD7A74B}"/>
              </a:ext>
            </a:extLst>
          </p:cNvPr>
          <p:cNvSpPr txBox="1"/>
          <p:nvPr/>
        </p:nvSpPr>
        <p:spPr>
          <a:xfrm>
            <a:off x="9569512" y="5438206"/>
            <a:ext cx="1996806" cy="6456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798" b="0" i="0" u="none" strike="noStrike" kern="1200" cap="none" spc="0" normalizeH="0" baseline="0" noProof="0" dirty="0">
                <a:ln>
                  <a:noFill/>
                </a:ln>
                <a:solidFill>
                  <a:srgbClr val="2149D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San Fernando Solar </a:t>
            </a:r>
            <a:r>
              <a:rPr kumimoji="0" lang="es-MX" sz="1600" b="0" i="1" u="none" strike="noStrike" kern="1200" cap="none" spc="0" normalizeH="0" baseline="0" noProof="0" dirty="0">
                <a:ln>
                  <a:noFill/>
                </a:ln>
                <a:solidFill>
                  <a:srgbClr val="2149D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61 MWp</a:t>
            </a:r>
            <a:endParaRPr kumimoji="0" lang="es-CO" sz="1600" b="0" i="1" u="none" strike="noStrike" kern="1200" cap="none" spc="0" normalizeH="0" baseline="0" noProof="0" dirty="0">
              <a:ln>
                <a:noFill/>
              </a:ln>
              <a:solidFill>
                <a:srgbClr val="2149DF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ángulo 18">
            <a:extLst>
              <a:ext uri="{FF2B5EF4-FFF2-40B4-BE49-F238E27FC236}">
                <a16:creationId xmlns:a16="http://schemas.microsoft.com/office/drawing/2014/main" id="{2B2B8A1C-F44D-4642-8720-7EB9F92D4772}"/>
              </a:ext>
            </a:extLst>
          </p:cNvPr>
          <p:cNvSpPr/>
          <p:nvPr/>
        </p:nvSpPr>
        <p:spPr>
          <a:xfrm>
            <a:off x="11141308" y="5719488"/>
            <a:ext cx="105510" cy="45707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1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799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9" name="Rectángulo 8">
            <a:extLst>
              <a:ext uri="{FF2B5EF4-FFF2-40B4-BE49-F238E27FC236}">
                <a16:creationId xmlns:a16="http://schemas.microsoft.com/office/drawing/2014/main" id="{A55CF8F6-9197-4C48-A616-90E5770E6390}"/>
              </a:ext>
            </a:extLst>
          </p:cNvPr>
          <p:cNvSpPr/>
          <p:nvPr/>
        </p:nvSpPr>
        <p:spPr>
          <a:xfrm>
            <a:off x="-21399" y="0"/>
            <a:ext cx="5372954" cy="685799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AR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highlight>
                <a:srgbClr val="FFFF00"/>
              </a:highligh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8" name="Title 6">
            <a:extLst>
              <a:ext uri="{FF2B5EF4-FFF2-40B4-BE49-F238E27FC236}">
                <a16:creationId xmlns:a16="http://schemas.microsoft.com/office/drawing/2014/main" id="{EBAE6D28-F2FD-ED48-8D2D-5939C74F6BCD}"/>
              </a:ext>
            </a:extLst>
          </p:cNvPr>
          <p:cNvSpPr txBox="1">
            <a:spLocks/>
          </p:cNvSpPr>
          <p:nvPr/>
        </p:nvSpPr>
        <p:spPr>
          <a:xfrm>
            <a:off x="270886" y="409843"/>
            <a:ext cx="4788384" cy="12003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126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399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126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E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Renewable</a:t>
            </a:r>
            <a:r>
              <a:rPr kumimoji="0" lang="es-ES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 </a:t>
            </a:r>
            <a:r>
              <a:rPr kumimoji="0" lang="es-ES" sz="28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Arial" charset="0"/>
                <a:cs typeface="Arial" panose="020B0604020202020204" pitchFamily="34" charset="0"/>
              </a:rPr>
              <a:t>plants</a:t>
            </a:r>
            <a:br>
              <a:rPr kumimoji="0" lang="x-none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Arial" charset="0"/>
                <a:cs typeface="Arial" charset="0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pic>
        <p:nvPicPr>
          <p:cNvPr id="51" name="Imagen 50">
            <a:extLst>
              <a:ext uri="{FF2B5EF4-FFF2-40B4-BE49-F238E27FC236}">
                <a16:creationId xmlns:a16="http://schemas.microsoft.com/office/drawing/2014/main" id="{56C2BA55-955B-FF40-9871-2E885B1B0D4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65742" y="1398474"/>
            <a:ext cx="4299880" cy="75646"/>
          </a:xfrm>
          <a:prstGeom prst="rect">
            <a:avLst/>
          </a:prstGeom>
        </p:spPr>
      </p:pic>
      <p:pic>
        <p:nvPicPr>
          <p:cNvPr id="15" name="Gráfico 14">
            <a:extLst>
              <a:ext uri="{FF2B5EF4-FFF2-40B4-BE49-F238E27FC236}">
                <a16:creationId xmlns:a16="http://schemas.microsoft.com/office/drawing/2014/main" id="{9A3C31EB-4834-EC4F-877E-22C45C5B6C4B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899827" y="1345473"/>
            <a:ext cx="456090" cy="456090"/>
          </a:xfrm>
          <a:prstGeom prst="rect">
            <a:avLst/>
          </a:prstGeom>
        </p:spPr>
      </p:pic>
      <p:pic>
        <p:nvPicPr>
          <p:cNvPr id="58" name="Gráfico 57">
            <a:extLst>
              <a:ext uri="{FF2B5EF4-FFF2-40B4-BE49-F238E27FC236}">
                <a16:creationId xmlns:a16="http://schemas.microsoft.com/office/drawing/2014/main" id="{23F38BFF-7304-9447-9E60-B3EA7E4C5B0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1183923" y="1944822"/>
            <a:ext cx="456090" cy="456090"/>
          </a:xfrm>
          <a:prstGeom prst="rect">
            <a:avLst/>
          </a:prstGeom>
        </p:spPr>
      </p:pic>
      <p:pic>
        <p:nvPicPr>
          <p:cNvPr id="17" name="Gráfico 16">
            <a:extLst>
              <a:ext uri="{FF2B5EF4-FFF2-40B4-BE49-F238E27FC236}">
                <a16:creationId xmlns:a16="http://schemas.microsoft.com/office/drawing/2014/main" id="{7BAF94BE-40DD-C643-AF2E-BD579CFD050B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136051" y="4551464"/>
            <a:ext cx="570420" cy="570420"/>
          </a:xfrm>
          <a:prstGeom prst="rect">
            <a:avLst/>
          </a:prstGeom>
        </p:spPr>
      </p:pic>
      <p:pic>
        <p:nvPicPr>
          <p:cNvPr id="62" name="Gráfico 61">
            <a:extLst>
              <a:ext uri="{FF2B5EF4-FFF2-40B4-BE49-F238E27FC236}">
                <a16:creationId xmlns:a16="http://schemas.microsoft.com/office/drawing/2014/main" id="{1014366E-C7E8-8E42-B7A2-7AC91F3B994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1519545" y="5457131"/>
            <a:ext cx="570420" cy="570420"/>
          </a:xfrm>
          <a:prstGeom prst="rect">
            <a:avLst/>
          </a:prstGeom>
        </p:spPr>
      </p:pic>
      <p:pic>
        <p:nvPicPr>
          <p:cNvPr id="23" name="Gráfico 22">
            <a:extLst>
              <a:ext uri="{FF2B5EF4-FFF2-40B4-BE49-F238E27FC236}">
                <a16:creationId xmlns:a16="http://schemas.microsoft.com/office/drawing/2014/main" id="{45CF7196-BA5C-4240-898E-828053E5BE0F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1471717" y="6475459"/>
            <a:ext cx="409215" cy="167345"/>
          </a:xfrm>
          <a:prstGeom prst="rect">
            <a:avLst/>
          </a:prstGeom>
        </p:spPr>
      </p:pic>
      <p:sp>
        <p:nvSpPr>
          <p:cNvPr id="113" name="CuadroTexto 112">
            <a:extLst>
              <a:ext uri="{FF2B5EF4-FFF2-40B4-BE49-F238E27FC236}">
                <a16:creationId xmlns:a16="http://schemas.microsoft.com/office/drawing/2014/main" id="{5D5856DE-EBC3-4912-A0AE-5431DB60EF01}"/>
              </a:ext>
            </a:extLst>
          </p:cNvPr>
          <p:cNvSpPr txBox="1"/>
          <p:nvPr/>
        </p:nvSpPr>
        <p:spPr>
          <a:xfrm>
            <a:off x="4616495" y="3325571"/>
            <a:ext cx="1428596" cy="615233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s-MX" sz="1798" b="0" i="0" u="none" strike="noStrike" kern="1200" cap="none" spc="0" normalizeH="0" baseline="0" noProof="0" dirty="0">
                <a:ln>
                  <a:noFill/>
                </a:ln>
                <a:solidFill>
                  <a:srgbClr val="214AD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Brisas Solar</a:t>
            </a:r>
          </a:p>
          <a:p>
            <a:pPr marL="0" marR="0" lvl="0" indent="0" algn="ctr" defTabSz="91385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MX" sz="1600" i="1" dirty="0">
                <a:solidFill>
                  <a:srgbClr val="214AD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6</a:t>
            </a:r>
            <a:r>
              <a:rPr kumimoji="0" lang="es-MX" sz="1600" b="0" i="1" u="none" strike="noStrike" kern="1200" cap="none" spc="0" normalizeH="0" baseline="0" noProof="0" dirty="0">
                <a:ln>
                  <a:noFill/>
                </a:ln>
                <a:solidFill>
                  <a:srgbClr val="214AD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kumimoji="0" lang="es-MX" sz="1600" b="0" i="1" u="none" strike="noStrike" kern="1200" cap="none" spc="0" normalizeH="0" baseline="0" noProof="0" dirty="0" err="1">
                <a:ln>
                  <a:noFill/>
                </a:ln>
                <a:solidFill>
                  <a:srgbClr val="214AD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MWp</a:t>
            </a:r>
            <a:endParaRPr kumimoji="0" lang="es-CO" sz="1600" b="0" i="1" u="none" strike="noStrike" kern="1200" cap="none" spc="0" normalizeH="0" baseline="0" noProof="0" dirty="0">
              <a:ln>
                <a:noFill/>
              </a:ln>
              <a:solidFill>
                <a:srgbClr val="214ADE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3" name="Gráfico 52">
            <a:extLst>
              <a:ext uri="{FF2B5EF4-FFF2-40B4-BE49-F238E27FC236}">
                <a16:creationId xmlns:a16="http://schemas.microsoft.com/office/drawing/2014/main" id="{A65621BA-F797-4C58-89C1-F48739587CB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022395" y="2842281"/>
            <a:ext cx="570420" cy="570420"/>
          </a:xfrm>
          <a:prstGeom prst="rect">
            <a:avLst/>
          </a:prstGeom>
        </p:spPr>
      </p:pic>
      <p:pic>
        <p:nvPicPr>
          <p:cNvPr id="3" name="Imagen 2" descr="Imagen que contiene pasto, verde, campo, calle&#10;&#10;Descripción generada automáticamente">
            <a:extLst>
              <a:ext uri="{FF2B5EF4-FFF2-40B4-BE49-F238E27FC236}">
                <a16:creationId xmlns:a16="http://schemas.microsoft.com/office/drawing/2014/main" id="{3CEFCFA3-96F6-B4F2-B9C0-0849B6CCDABD}"/>
              </a:ext>
            </a:extLst>
          </p:cNvPr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689"/>
          <a:stretch/>
        </p:blipFill>
        <p:spPr>
          <a:xfrm>
            <a:off x="275953" y="2269691"/>
            <a:ext cx="4171055" cy="35399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32495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7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2&quot;&gt;&lt;elem m_fUsage=&quot;1.00000000000000000000E+00&quot;&gt;&lt;m_msothmcolidx val=&quot;0&quot;/&gt;&lt;m_rgb r=&quot;CA&quot; g=&quot;0A&quot; b=&quot;04&quot;/&gt;&lt;m_nBrightness tagver0=&quot;26206&quot; tagname0=&quot;m_nBrightnessUNRECOGNIZED&quot; val=&quot;0&quot;/&gt;&lt;/elem&gt;&lt;elem m_fUsage=&quot;9.00000000000000022204E-01&quot;&gt;&lt;m_msothmcolidx val=&quot;0&quot;/&gt;&lt;m_rgb r=&quot;FB&quot; g=&quot;3F&quot; b=&quot;24&quot;/&gt;&lt;m_nBrightness tagver0=&quot;26206&quot; tagname0=&quot;m_nBrightnessUNRECOGNIZED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4_AES we are the energy">
  <a:themeElements>
    <a:clrScheme name="AES Gener">
      <a:dk1>
        <a:srgbClr val="000000"/>
      </a:dk1>
      <a:lt1>
        <a:srgbClr val="FFFFFF"/>
      </a:lt1>
      <a:dk2>
        <a:srgbClr val="003F5F"/>
      </a:dk2>
      <a:lt2>
        <a:srgbClr val="FFFFFF"/>
      </a:lt2>
      <a:accent1>
        <a:srgbClr val="4B721D"/>
      </a:accent1>
      <a:accent2>
        <a:srgbClr val="8DC63F"/>
      </a:accent2>
      <a:accent3>
        <a:srgbClr val="0078AE"/>
      </a:accent3>
      <a:accent4>
        <a:srgbClr val="AB540F"/>
      </a:accent4>
      <a:accent5>
        <a:srgbClr val="E68F1B"/>
      </a:accent5>
      <a:accent6>
        <a:srgbClr val="FDB813"/>
      </a:accent6>
      <a:hlink>
        <a:srgbClr val="003F5F"/>
      </a:hlink>
      <a:folHlink>
        <a:srgbClr val="808080"/>
      </a:folHlink>
    </a:clrScheme>
    <a:fontScheme name="AES Gener">
      <a:majorFont>
        <a:latin typeface="Arial Black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25400">
          <a:noFill/>
          <a:round/>
          <a:headEnd/>
          <a:tailEnd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b="1" dirty="0">
            <a:solidFill>
              <a:schemeClr val="bg1"/>
            </a:solidFill>
          </a:defRPr>
        </a:defPPr>
      </a:lstStyle>
    </a:spDef>
    <a:lnDef>
      <a:spPr>
        <a:ln w="254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 marL="233363" indent="-233363">
          <a:lnSpc>
            <a:spcPct val="90000"/>
          </a:lnSpc>
          <a:buClr>
            <a:srgbClr val="0078AE"/>
          </a:buClr>
          <a:buSzPct val="90000"/>
          <a:buFont typeface="Wingdings" panose="05000000000000000000" pitchFamily="2" charset="2"/>
          <a:buChar char=""/>
          <a:defRPr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5_AES we are the energy">
  <a:themeElements>
    <a:clrScheme name="AES Gener">
      <a:dk1>
        <a:srgbClr val="000000"/>
      </a:dk1>
      <a:lt1>
        <a:srgbClr val="FFFFFF"/>
      </a:lt1>
      <a:dk2>
        <a:srgbClr val="003F5F"/>
      </a:dk2>
      <a:lt2>
        <a:srgbClr val="FFFFFF"/>
      </a:lt2>
      <a:accent1>
        <a:srgbClr val="4B721D"/>
      </a:accent1>
      <a:accent2>
        <a:srgbClr val="8DC63F"/>
      </a:accent2>
      <a:accent3>
        <a:srgbClr val="0078AE"/>
      </a:accent3>
      <a:accent4>
        <a:srgbClr val="AB540F"/>
      </a:accent4>
      <a:accent5>
        <a:srgbClr val="E68F1B"/>
      </a:accent5>
      <a:accent6>
        <a:srgbClr val="FDB813"/>
      </a:accent6>
      <a:hlink>
        <a:srgbClr val="003F5F"/>
      </a:hlink>
      <a:folHlink>
        <a:srgbClr val="808080"/>
      </a:folHlink>
    </a:clrScheme>
    <a:fontScheme name="AES Gener">
      <a:majorFont>
        <a:latin typeface="Arial Black"/>
        <a:ea typeface=""/>
        <a:cs typeface=""/>
      </a:majorFont>
      <a:minorFont>
        <a:latin typeface="Segoe U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2"/>
        </a:solidFill>
        <a:ln w="25400">
          <a:noFill/>
          <a:round/>
          <a:headEnd/>
          <a:tailEnd/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lnSpc>
            <a:spcPct val="90000"/>
          </a:lnSpc>
          <a:defRPr b="1" dirty="0">
            <a:solidFill>
              <a:schemeClr val="bg1"/>
            </a:solidFill>
          </a:defRPr>
        </a:defPPr>
      </a:lstStyle>
    </a:spDef>
    <a:lnDef>
      <a:spPr>
        <a:ln w="2540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noAutofit/>
      </a:bodyPr>
      <a:lstStyle>
        <a:defPPr marL="233363" indent="-233363">
          <a:lnSpc>
            <a:spcPct val="90000"/>
          </a:lnSpc>
          <a:buClr>
            <a:srgbClr val="0078AE"/>
          </a:buClr>
          <a:buSzPct val="90000"/>
          <a:buFont typeface="Wingdings" panose="05000000000000000000" pitchFamily="2" charset="2"/>
          <a:buChar char=""/>
          <a:defRPr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AES2020">
  <a:themeElements>
    <a:clrScheme name="AES2020">
      <a:dk1>
        <a:srgbClr val="000000"/>
      </a:dk1>
      <a:lt1>
        <a:srgbClr val="FFFFFF"/>
      </a:lt1>
      <a:dk2>
        <a:srgbClr val="E4E5E4"/>
      </a:dk2>
      <a:lt2>
        <a:srgbClr val="F4F5F4"/>
      </a:lt2>
      <a:accent1>
        <a:srgbClr val="204ADE"/>
      </a:accent1>
      <a:accent2>
        <a:srgbClr val="8C5CF2"/>
      </a:accent2>
      <a:accent3>
        <a:srgbClr val="00A2C7"/>
      </a:accent3>
      <a:accent4>
        <a:srgbClr val="16A837"/>
      </a:accent4>
      <a:accent5>
        <a:srgbClr val="BFBFBF"/>
      </a:accent5>
      <a:accent6>
        <a:srgbClr val="7FD0E3"/>
      </a:accent6>
      <a:hlink>
        <a:srgbClr val="204ADE"/>
      </a:hlink>
      <a:folHlink>
        <a:srgbClr val="C5ADF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S2020" id="{7C65BEBB-B6E3-4ABF-B338-CFD9E2F6436E}" vid="{11462113-0FA9-443E-BAC7-B7906398C565}"/>
    </a:ext>
  </a:extLst>
</a:theme>
</file>

<file path=ppt/theme/theme4.xml><?xml version="1.0" encoding="utf-8"?>
<a:theme xmlns:a="http://schemas.openxmlformats.org/drawingml/2006/main" name="1_AES2020">
  <a:themeElements>
    <a:clrScheme name="AES2020">
      <a:dk1>
        <a:srgbClr val="000000"/>
      </a:dk1>
      <a:lt1>
        <a:srgbClr val="FFFFFF"/>
      </a:lt1>
      <a:dk2>
        <a:srgbClr val="E4E5E4"/>
      </a:dk2>
      <a:lt2>
        <a:srgbClr val="F4F5F4"/>
      </a:lt2>
      <a:accent1>
        <a:srgbClr val="204ADE"/>
      </a:accent1>
      <a:accent2>
        <a:srgbClr val="8C5CF2"/>
      </a:accent2>
      <a:accent3>
        <a:srgbClr val="00A2C7"/>
      </a:accent3>
      <a:accent4>
        <a:srgbClr val="16A837"/>
      </a:accent4>
      <a:accent5>
        <a:srgbClr val="BFBFBF"/>
      </a:accent5>
      <a:accent6>
        <a:srgbClr val="7FD0E3"/>
      </a:accent6>
      <a:hlink>
        <a:srgbClr val="204ADE"/>
      </a:hlink>
      <a:folHlink>
        <a:srgbClr val="C5ADF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S2020" id="{7C65BEBB-B6E3-4ABF-B338-CFD9E2F6436E}" vid="{11462113-0FA9-443E-BAC7-B7906398C565}"/>
    </a:ext>
  </a:extLst>
</a:theme>
</file>

<file path=ppt/theme/theme5.xml><?xml version="1.0" encoding="utf-8"?>
<a:theme xmlns:a="http://schemas.openxmlformats.org/drawingml/2006/main" name="2_AES2020">
  <a:themeElements>
    <a:clrScheme name="AES2020">
      <a:dk1>
        <a:srgbClr val="000000"/>
      </a:dk1>
      <a:lt1>
        <a:srgbClr val="FFFFFF"/>
      </a:lt1>
      <a:dk2>
        <a:srgbClr val="E4E5E4"/>
      </a:dk2>
      <a:lt2>
        <a:srgbClr val="F4F5F4"/>
      </a:lt2>
      <a:accent1>
        <a:srgbClr val="204ADE"/>
      </a:accent1>
      <a:accent2>
        <a:srgbClr val="8C5CF2"/>
      </a:accent2>
      <a:accent3>
        <a:srgbClr val="00A2C7"/>
      </a:accent3>
      <a:accent4>
        <a:srgbClr val="16A837"/>
      </a:accent4>
      <a:accent5>
        <a:srgbClr val="BFBFBF"/>
      </a:accent5>
      <a:accent6>
        <a:srgbClr val="7FD0E3"/>
      </a:accent6>
      <a:hlink>
        <a:srgbClr val="204ADE"/>
      </a:hlink>
      <a:folHlink>
        <a:srgbClr val="C5ADF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S2020" id="{7C65BEBB-B6E3-4ABF-B338-CFD9E2F6436E}" vid="{11462113-0FA9-443E-BAC7-B7906398C565}"/>
    </a:ext>
  </a:extLst>
</a:theme>
</file>

<file path=ppt/theme/theme6.xml><?xml version="1.0" encoding="utf-8"?>
<a:theme xmlns:a="http://schemas.openxmlformats.org/drawingml/2006/main" name="3_AES2020">
  <a:themeElements>
    <a:clrScheme name="AES2020">
      <a:dk1>
        <a:srgbClr val="000000"/>
      </a:dk1>
      <a:lt1>
        <a:srgbClr val="FFFFFF"/>
      </a:lt1>
      <a:dk2>
        <a:srgbClr val="E4E5E4"/>
      </a:dk2>
      <a:lt2>
        <a:srgbClr val="F4F5F4"/>
      </a:lt2>
      <a:accent1>
        <a:srgbClr val="204ADE"/>
      </a:accent1>
      <a:accent2>
        <a:srgbClr val="8C5CF2"/>
      </a:accent2>
      <a:accent3>
        <a:srgbClr val="00A2C7"/>
      </a:accent3>
      <a:accent4>
        <a:srgbClr val="16A837"/>
      </a:accent4>
      <a:accent5>
        <a:srgbClr val="BFBFBF"/>
      </a:accent5>
      <a:accent6>
        <a:srgbClr val="7FD0E3"/>
      </a:accent6>
      <a:hlink>
        <a:srgbClr val="204ADE"/>
      </a:hlink>
      <a:folHlink>
        <a:srgbClr val="C5ADF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AES2020" id="{7C65BEBB-B6E3-4ABF-B338-CFD9E2F6436E}" vid="{11462113-0FA9-443E-BAC7-B7906398C565}"/>
    </a:ext>
  </a:extLst>
</a:theme>
</file>

<file path=ppt/theme/theme7.xml><?xml version="1.0" encoding="utf-8"?>
<a:theme xmlns:a="http://schemas.openxmlformats.org/drawingml/2006/main" name="5_AES Master">
  <a:themeElements>
    <a:clrScheme name="AES Colors Final Tempalte">
      <a:dk1>
        <a:srgbClr val="000000"/>
      </a:dk1>
      <a:lt1>
        <a:srgbClr val="FFFFFF"/>
      </a:lt1>
      <a:dk2>
        <a:srgbClr val="E4E5E4"/>
      </a:dk2>
      <a:lt2>
        <a:srgbClr val="F4F5F4"/>
      </a:lt2>
      <a:accent1>
        <a:srgbClr val="204ADE"/>
      </a:accent1>
      <a:accent2>
        <a:srgbClr val="8C5CF2"/>
      </a:accent2>
      <a:accent3>
        <a:srgbClr val="00A2C7"/>
      </a:accent3>
      <a:accent4>
        <a:srgbClr val="16A837"/>
      </a:accent4>
      <a:accent5>
        <a:srgbClr val="BFBFBF"/>
      </a:accent5>
      <a:accent6>
        <a:srgbClr val="7FD0E3"/>
      </a:accent6>
      <a:hlink>
        <a:srgbClr val="204ADE"/>
      </a:hlink>
      <a:folHlink>
        <a:srgbClr val="C5ADF9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NTITLED" id="{F24FFAFE-B4B9-4279-ACB1-53A5DE27917A}" vid="{8F1FB18A-4ED6-43BC-AAE0-398E9D1ECEEE}"/>
    </a:ext>
  </a:extLst>
</a:theme>
</file>

<file path=ppt/theme/theme8.xml><?xml version="1.0" encoding="utf-8"?>
<a:theme xmlns:a="http://schemas.openxmlformats.org/drawingml/2006/main" name="Office Theme">
  <a:themeElements>
    <a:clrScheme name="AES we are the energy">
      <a:dk1>
        <a:srgbClr val="000000"/>
      </a:dk1>
      <a:lt1>
        <a:srgbClr val="FFFFFF"/>
      </a:lt1>
      <a:dk2>
        <a:srgbClr val="003F5F"/>
      </a:dk2>
      <a:lt2>
        <a:srgbClr val="FFFFFF"/>
      </a:lt2>
      <a:accent1>
        <a:srgbClr val="0078AE"/>
      </a:accent1>
      <a:accent2>
        <a:srgbClr val="8CC63F"/>
      </a:accent2>
      <a:accent3>
        <a:srgbClr val="FEBE20"/>
      </a:accent3>
      <a:accent4>
        <a:srgbClr val="A50021"/>
      </a:accent4>
      <a:accent5>
        <a:srgbClr val="4B721D"/>
      </a:accent5>
      <a:accent6>
        <a:srgbClr val="9EBECF"/>
      </a:accent6>
      <a:hlink>
        <a:srgbClr val="B2B2B2"/>
      </a:hlink>
      <a:folHlink>
        <a:srgbClr val="003F5F"/>
      </a:folHlink>
    </a:clrScheme>
    <a:fontScheme name="Custom 2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2583DAD138739C49BE8421FD40643D19" ma:contentTypeVersion="13" ma:contentTypeDescription="Create a new document." ma:contentTypeScope="" ma:versionID="d48963fa9d3a0f42c2e44c07f079f76e">
  <xsd:schema xmlns:xsd="http://www.w3.org/2001/XMLSchema" xmlns:xs="http://www.w3.org/2001/XMLSchema" xmlns:p="http://schemas.microsoft.com/office/2006/metadata/properties" xmlns:ns3="826904d8-96bc-48ad-b1d3-36d151449113" xmlns:ns4="7f2a1f1f-8bb1-4c59-8e54-c9e9c6fac110" targetNamespace="http://schemas.microsoft.com/office/2006/metadata/properties" ma:root="true" ma:fieldsID="8fc55c6c8bab785ebc78e1dce60ae4e6" ns3:_="" ns4:_="">
    <xsd:import namespace="826904d8-96bc-48ad-b1d3-36d151449113"/>
    <xsd:import namespace="7f2a1f1f-8bb1-4c59-8e54-c9e9c6fac11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KeyPoints" minOccurs="0"/>
                <xsd:element ref="ns3:MediaServiceKeyPoints" minOccurs="0"/>
                <xsd:element ref="ns3:MediaServiceDateTaken" minOccurs="0"/>
                <xsd:element ref="ns3:MediaServiceAutoTags" minOccurs="0"/>
                <xsd:element ref="ns3:MediaServiceLocation" minOccurs="0"/>
                <xsd:element ref="ns3:MediaServiceOCR" minOccurs="0"/>
                <xsd:element ref="ns3:MediaServiceGenerationTime" minOccurs="0"/>
                <xsd:element ref="ns3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26904d8-96bc-48ad-b1d3-36d15144911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3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4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5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6" nillable="true" ma:displayName="Tags" ma:internalName="MediaServiceAutoTags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2a1f1f-8bb1-4c59-8e54-c9e9c6fac11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A344BF52-9F13-425A-B2A4-7C699DE3177A}">
  <ds:schemaRefs>
    <ds:schemaRef ds:uri="http://schemas.microsoft.com/office/2006/documentManagement/types"/>
    <ds:schemaRef ds:uri="http://purl.org/dc/elements/1.1/"/>
    <ds:schemaRef ds:uri="http://schemas.openxmlformats.org/package/2006/metadata/core-properties"/>
    <ds:schemaRef ds:uri="http://schemas.microsoft.com/office/infopath/2007/PartnerControls"/>
    <ds:schemaRef ds:uri="7f2a1f1f-8bb1-4c59-8e54-c9e9c6fac110"/>
    <ds:schemaRef ds:uri="http://purl.org/dc/terms/"/>
    <ds:schemaRef ds:uri="826904d8-96bc-48ad-b1d3-36d151449113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7D029D90-A1AC-45B2-84DA-FB6B0266DB1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734529F-2FDC-4DFF-AAD5-A4D9320FF2D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826904d8-96bc-48ad-b1d3-36d151449113"/>
    <ds:schemaRef ds:uri="7f2a1f1f-8bb1-4c59-8e54-c9e9c6fac11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169</TotalTime>
  <Words>54</Words>
  <Application>Microsoft Office PowerPoint</Application>
  <PresentationFormat>Personalizado</PresentationFormat>
  <Paragraphs>24</Paragraphs>
  <Slides>2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10</vt:i4>
      </vt:variant>
      <vt:variant>
        <vt:lpstr>Tema</vt:lpstr>
      </vt:variant>
      <vt:variant>
        <vt:i4>7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20" baseType="lpstr">
      <vt:lpstr>Arial</vt:lpstr>
      <vt:lpstr>Arial Black</vt:lpstr>
      <vt:lpstr>Arial Narrow</vt:lpstr>
      <vt:lpstr>Calibri</vt:lpstr>
      <vt:lpstr>Calibri Light</vt:lpstr>
      <vt:lpstr>Segoe UI</vt:lpstr>
      <vt:lpstr>System Font Regular</vt:lpstr>
      <vt:lpstr>Verdana</vt:lpstr>
      <vt:lpstr>Wingdings</vt:lpstr>
      <vt:lpstr>Wingdings 3</vt:lpstr>
      <vt:lpstr>4_AES we are the energy</vt:lpstr>
      <vt:lpstr>5_AES we are the energy</vt:lpstr>
      <vt:lpstr>AES2020</vt:lpstr>
      <vt:lpstr>1_AES2020</vt:lpstr>
      <vt:lpstr>2_AES2020</vt:lpstr>
      <vt:lpstr>3_AES2020</vt:lpstr>
      <vt:lpstr>5_AES Master</vt:lpstr>
      <vt:lpstr>think-cell Slide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omás Campos</dc:creator>
  <cp:lastModifiedBy>Nicole D. Lemaitre Escobar</cp:lastModifiedBy>
  <cp:revision>885</cp:revision>
  <dcterms:created xsi:type="dcterms:W3CDTF">2019-01-31T12:08:23Z</dcterms:created>
  <dcterms:modified xsi:type="dcterms:W3CDTF">2023-07-04T22:45:5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2583DAD138739C49BE8421FD40643D19</vt:lpwstr>
  </property>
</Properties>
</file>